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FFFF"/>
    <a:srgbClr val="1F497D"/>
    <a:srgbClr val="0B79AA"/>
    <a:srgbClr val="CAD1A1"/>
    <a:srgbClr val="4BACC6"/>
    <a:srgbClr val="AABED2"/>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3C553-2D46-4EDC-82F0-D48C3B05572A}" v="1" dt="2021-06-23T05:55:56.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delwal, Rahul" userId="a3e3dcc2-f091-47be-b937-7067e8d8998e" providerId="ADAL" clId="{BDA56503-2F5F-4890-A981-3E802E3B1002}"/>
    <pc:docChg chg="undo custSel addSld delSld modSld sldOrd delMainMaster modSection">
      <pc:chgData name="Khandelwal, Rahul" userId="a3e3dcc2-f091-47be-b937-7067e8d8998e" providerId="ADAL" clId="{BDA56503-2F5F-4890-A981-3E802E3B1002}" dt="2021-05-23T16:16:25.113" v="1238"/>
      <pc:docMkLst>
        <pc:docMk/>
      </pc:docMkLst>
      <pc:sldChg chg="del">
        <pc:chgData name="Khandelwal, Rahul" userId="a3e3dcc2-f091-47be-b937-7067e8d8998e" providerId="ADAL" clId="{BDA56503-2F5F-4890-A981-3E802E3B1002}" dt="2021-05-23T08:50:57.616" v="241" actId="2696"/>
        <pc:sldMkLst>
          <pc:docMk/>
          <pc:sldMk cId="2017671847" sldId="297"/>
        </pc:sldMkLst>
      </pc:sldChg>
      <pc:sldChg chg="del">
        <pc:chgData name="Khandelwal, Rahul" userId="a3e3dcc2-f091-47be-b937-7067e8d8998e" providerId="ADAL" clId="{BDA56503-2F5F-4890-A981-3E802E3B1002}" dt="2021-05-23T09:58:23.643" v="707" actId="2696"/>
        <pc:sldMkLst>
          <pc:docMk/>
          <pc:sldMk cId="3493555820" sldId="312"/>
        </pc:sldMkLst>
      </pc:sldChg>
      <pc:sldChg chg="del">
        <pc:chgData name="Khandelwal, Rahul" userId="a3e3dcc2-f091-47be-b937-7067e8d8998e" providerId="ADAL" clId="{BDA56503-2F5F-4890-A981-3E802E3B1002}" dt="2021-05-23T09:58:27.978" v="721" actId="2696"/>
        <pc:sldMkLst>
          <pc:docMk/>
          <pc:sldMk cId="3376722241" sldId="411"/>
        </pc:sldMkLst>
      </pc:sldChg>
      <pc:sldChg chg="ord">
        <pc:chgData name="Khandelwal, Rahul" userId="a3e3dcc2-f091-47be-b937-7067e8d8998e" providerId="ADAL" clId="{BDA56503-2F5F-4890-A981-3E802E3B1002}" dt="2021-05-23T09:55:34.069" v="681"/>
        <pc:sldMkLst>
          <pc:docMk/>
          <pc:sldMk cId="1023936607" sldId="412"/>
        </pc:sldMkLst>
      </pc:sldChg>
      <pc:sldChg chg="del">
        <pc:chgData name="Khandelwal, Rahul" userId="a3e3dcc2-f091-47be-b937-7067e8d8998e" providerId="ADAL" clId="{BDA56503-2F5F-4890-A981-3E802E3B1002}" dt="2021-05-23T10:03:44.660" v="722" actId="2696"/>
        <pc:sldMkLst>
          <pc:docMk/>
          <pc:sldMk cId="0" sldId="560"/>
        </pc:sldMkLst>
      </pc:sldChg>
      <pc:sldChg chg="del">
        <pc:chgData name="Khandelwal, Rahul" userId="a3e3dcc2-f091-47be-b937-7067e8d8998e" providerId="ADAL" clId="{BDA56503-2F5F-4890-A981-3E802E3B1002}" dt="2021-05-23T10:16:54.585" v="816" actId="2696"/>
        <pc:sldMkLst>
          <pc:docMk/>
          <pc:sldMk cId="2015533812" sldId="1044"/>
        </pc:sldMkLst>
      </pc:sldChg>
      <pc:sldChg chg="addSp delSp modSp">
        <pc:chgData name="Khandelwal, Rahul" userId="a3e3dcc2-f091-47be-b937-7067e8d8998e" providerId="ADAL" clId="{BDA56503-2F5F-4890-A981-3E802E3B1002}" dt="2021-05-23T10:59:35.589" v="1190" actId="313"/>
        <pc:sldMkLst>
          <pc:docMk/>
          <pc:sldMk cId="3440605736" sldId="1048"/>
        </pc:sldMkLst>
        <pc:spChg chg="mod">
          <ac:chgData name="Khandelwal, Rahul" userId="a3e3dcc2-f091-47be-b937-7067e8d8998e" providerId="ADAL" clId="{BDA56503-2F5F-4890-A981-3E802E3B1002}" dt="2021-05-23T10:43:19.117" v="903" actId="20577"/>
          <ac:spMkLst>
            <pc:docMk/>
            <pc:sldMk cId="3440605736" sldId="1048"/>
            <ac:spMk id="2" creationId="{5E9DF378-2BB0-46F8-9CE5-2BB614DEC28E}"/>
          </ac:spMkLst>
        </pc:spChg>
        <pc:spChg chg="mod">
          <ac:chgData name="Khandelwal, Rahul" userId="a3e3dcc2-f091-47be-b937-7067e8d8998e" providerId="ADAL" clId="{BDA56503-2F5F-4890-A981-3E802E3B1002}" dt="2021-05-23T08:43:18.483" v="5" actId="1076"/>
          <ac:spMkLst>
            <pc:docMk/>
            <pc:sldMk cId="3440605736" sldId="1048"/>
            <ac:spMk id="3" creationId="{EE8224EB-8B81-4BEB-B1EB-748CD7290948}"/>
          </ac:spMkLst>
        </pc:spChg>
        <pc:graphicFrameChg chg="del">
          <ac:chgData name="Khandelwal, Rahul" userId="a3e3dcc2-f091-47be-b937-7067e8d8998e" providerId="ADAL" clId="{BDA56503-2F5F-4890-A981-3E802E3B1002}" dt="2021-05-23T08:42:16.486" v="0" actId="478"/>
          <ac:graphicFrameMkLst>
            <pc:docMk/>
            <pc:sldMk cId="3440605736" sldId="1048"/>
            <ac:graphicFrameMk id="6" creationId="{08AAB50B-73FA-4BB2-BC4C-82295B610004}"/>
          </ac:graphicFrameMkLst>
        </pc:graphicFrameChg>
        <pc:graphicFrameChg chg="add modGraphic">
          <ac:chgData name="Khandelwal, Rahul" userId="a3e3dcc2-f091-47be-b937-7067e8d8998e" providerId="ADAL" clId="{BDA56503-2F5F-4890-A981-3E802E3B1002}" dt="2021-05-23T10:59:35.589" v="1190" actId="313"/>
          <ac:graphicFrameMkLst>
            <pc:docMk/>
            <pc:sldMk cId="3440605736" sldId="1048"/>
            <ac:graphicFrameMk id="7" creationId="{74ED80E0-ECD1-4DF7-A35E-9201CE580816}"/>
          </ac:graphicFrameMkLst>
        </pc:graphicFrameChg>
      </pc:sldChg>
      <pc:sldChg chg="modSp">
        <pc:chgData name="Khandelwal, Rahul" userId="a3e3dcc2-f091-47be-b937-7067e8d8998e" providerId="ADAL" clId="{BDA56503-2F5F-4890-A981-3E802E3B1002}" dt="2021-05-23T16:05:42.551" v="1227" actId="20577"/>
        <pc:sldMkLst>
          <pc:docMk/>
          <pc:sldMk cId="203152348" sldId="1049"/>
        </pc:sldMkLst>
        <pc:spChg chg="mod">
          <ac:chgData name="Khandelwal, Rahul" userId="a3e3dcc2-f091-47be-b937-7067e8d8998e" providerId="ADAL" clId="{BDA56503-2F5F-4890-A981-3E802E3B1002}" dt="2021-05-23T09:52:58.445" v="680" actId="20577"/>
          <ac:spMkLst>
            <pc:docMk/>
            <pc:sldMk cId="203152348" sldId="1049"/>
            <ac:spMk id="7175" creationId="{BADEA8C0-D1A3-4608-9E63-683339DCC944}"/>
          </ac:spMkLst>
        </pc:spChg>
        <pc:graphicFrameChg chg="mod modGraphic">
          <ac:chgData name="Khandelwal, Rahul" userId="a3e3dcc2-f091-47be-b937-7067e8d8998e" providerId="ADAL" clId="{BDA56503-2F5F-4890-A981-3E802E3B1002}" dt="2021-05-23T16:05:42.551" v="1227" actId="20577"/>
          <ac:graphicFrameMkLst>
            <pc:docMk/>
            <pc:sldMk cId="203152348" sldId="1049"/>
            <ac:graphicFrameMk id="2" creationId="{B8B0DC3D-A319-4B78-A461-3FAC5C106C85}"/>
          </ac:graphicFrameMkLst>
        </pc:graphicFrameChg>
      </pc:sldChg>
      <pc:sldChg chg="addSp delSp modSp">
        <pc:chgData name="Khandelwal, Rahul" userId="a3e3dcc2-f091-47be-b937-7067e8d8998e" providerId="ADAL" clId="{BDA56503-2F5F-4890-A981-3E802E3B1002}" dt="2021-05-23T11:02:34.320" v="1218" actId="1076"/>
        <pc:sldMkLst>
          <pc:docMk/>
          <pc:sldMk cId="3588828647" sldId="1050"/>
        </pc:sldMkLst>
        <pc:spChg chg="mod">
          <ac:chgData name="Khandelwal, Rahul" userId="a3e3dcc2-f091-47be-b937-7067e8d8998e" providerId="ADAL" clId="{BDA56503-2F5F-4890-A981-3E802E3B1002}" dt="2021-05-23T10:43:51.521" v="909" actId="1076"/>
          <ac:spMkLst>
            <pc:docMk/>
            <pc:sldMk cId="3588828647" sldId="1050"/>
            <ac:spMk id="3" creationId="{584D2866-EA4C-4F80-8863-9D90A40D1D11}"/>
          </ac:spMkLst>
        </pc:spChg>
        <pc:spChg chg="mod">
          <ac:chgData name="Khandelwal, Rahul" userId="a3e3dcc2-f091-47be-b937-7067e8d8998e" providerId="ADAL" clId="{BDA56503-2F5F-4890-A981-3E802E3B1002}" dt="2021-05-23T09:24:00.501" v="332" actId="20577"/>
          <ac:spMkLst>
            <pc:docMk/>
            <pc:sldMk cId="3588828647" sldId="1050"/>
            <ac:spMk id="47" creationId="{986D999D-831A-4FE6-B161-72F3B77A10DC}"/>
          </ac:spMkLst>
        </pc:spChg>
        <pc:spChg chg="mod">
          <ac:chgData name="Khandelwal, Rahul" userId="a3e3dcc2-f091-47be-b937-7067e8d8998e" providerId="ADAL" clId="{BDA56503-2F5F-4890-A981-3E802E3B1002}" dt="2021-05-23T10:54:21.187" v="1048" actId="20577"/>
          <ac:spMkLst>
            <pc:docMk/>
            <pc:sldMk cId="3588828647" sldId="1050"/>
            <ac:spMk id="59" creationId="{5DE4D9F5-0C93-4CE9-BF1F-FDDFE7A12533}"/>
          </ac:spMkLst>
        </pc:spChg>
        <pc:spChg chg="mod">
          <ac:chgData name="Khandelwal, Rahul" userId="a3e3dcc2-f091-47be-b937-7067e8d8998e" providerId="ADAL" clId="{BDA56503-2F5F-4890-A981-3E802E3B1002}" dt="2021-05-23T10:54:52.405" v="1064" actId="20577"/>
          <ac:spMkLst>
            <pc:docMk/>
            <pc:sldMk cId="3588828647" sldId="1050"/>
            <ac:spMk id="60" creationId="{82371DB6-335F-4687-BFF2-FCA9805C14B2}"/>
          </ac:spMkLst>
        </pc:spChg>
        <pc:spChg chg="del">
          <ac:chgData name="Khandelwal, Rahul" userId="a3e3dcc2-f091-47be-b937-7067e8d8998e" providerId="ADAL" clId="{BDA56503-2F5F-4890-A981-3E802E3B1002}" dt="2021-05-23T09:52:13.645" v="671" actId="478"/>
          <ac:spMkLst>
            <pc:docMk/>
            <pc:sldMk cId="3588828647" sldId="1050"/>
            <ac:spMk id="62" creationId="{3344005A-0058-44AF-903F-28504021989E}"/>
          </ac:spMkLst>
        </pc:spChg>
        <pc:spChg chg="mod">
          <ac:chgData name="Khandelwal, Rahul" userId="a3e3dcc2-f091-47be-b937-7067e8d8998e" providerId="ADAL" clId="{BDA56503-2F5F-4890-A981-3E802E3B1002}" dt="2021-05-23T10:06:14.778" v="743" actId="20577"/>
          <ac:spMkLst>
            <pc:docMk/>
            <pc:sldMk cId="3588828647" sldId="1050"/>
            <ac:spMk id="65" creationId="{E39B6E9A-D63A-44EC-9440-8B896E9A8436}"/>
          </ac:spMkLst>
        </pc:spChg>
        <pc:spChg chg="mod">
          <ac:chgData name="Khandelwal, Rahul" userId="a3e3dcc2-f091-47be-b937-7067e8d8998e" providerId="ADAL" clId="{BDA56503-2F5F-4890-A981-3E802E3B1002}" dt="2021-05-23T09:24:08.159" v="343" actId="20577"/>
          <ac:spMkLst>
            <pc:docMk/>
            <pc:sldMk cId="3588828647" sldId="1050"/>
            <ac:spMk id="67" creationId="{00F21299-09C0-4437-B7DC-3D2CCF773817}"/>
          </ac:spMkLst>
        </pc:spChg>
        <pc:spChg chg="mod">
          <ac:chgData name="Khandelwal, Rahul" userId="a3e3dcc2-f091-47be-b937-7067e8d8998e" providerId="ADAL" clId="{BDA56503-2F5F-4890-A981-3E802E3B1002}" dt="2021-05-23T10:06:35.535" v="777" actId="20577"/>
          <ac:spMkLst>
            <pc:docMk/>
            <pc:sldMk cId="3588828647" sldId="1050"/>
            <ac:spMk id="70" creationId="{86BD8481-7A2E-471B-8531-C343D411D4C8}"/>
          </ac:spMkLst>
        </pc:spChg>
        <pc:spChg chg="mod">
          <ac:chgData name="Khandelwal, Rahul" userId="a3e3dcc2-f091-47be-b937-7067e8d8998e" providerId="ADAL" clId="{BDA56503-2F5F-4890-A981-3E802E3B1002}" dt="2021-05-23T10:06:25.948" v="762" actId="20577"/>
          <ac:spMkLst>
            <pc:docMk/>
            <pc:sldMk cId="3588828647" sldId="1050"/>
            <ac:spMk id="76" creationId="{704E821D-E442-4485-AACB-FC177C290A6A}"/>
          </ac:spMkLst>
        </pc:spChg>
        <pc:spChg chg="mod">
          <ac:chgData name="Khandelwal, Rahul" userId="a3e3dcc2-f091-47be-b937-7067e8d8998e" providerId="ADAL" clId="{BDA56503-2F5F-4890-A981-3E802E3B1002}" dt="2021-05-23T10:06:41.119" v="796" actId="20577"/>
          <ac:spMkLst>
            <pc:docMk/>
            <pc:sldMk cId="3588828647" sldId="1050"/>
            <ac:spMk id="78" creationId="{31CBBC8F-F635-4FC2-83F8-EE74C057674C}"/>
          </ac:spMkLst>
        </pc:spChg>
        <pc:spChg chg="mod">
          <ac:chgData name="Khandelwal, Rahul" userId="a3e3dcc2-f091-47be-b937-7067e8d8998e" providerId="ADAL" clId="{BDA56503-2F5F-4890-A981-3E802E3B1002}" dt="2021-05-23T09:24:14.896" v="345"/>
          <ac:spMkLst>
            <pc:docMk/>
            <pc:sldMk cId="3588828647" sldId="1050"/>
            <ac:spMk id="79" creationId="{52690C13-4231-43C5-A68D-F3D774534B78}"/>
          </ac:spMkLst>
        </pc:spChg>
        <pc:spChg chg="mod">
          <ac:chgData name="Khandelwal, Rahul" userId="a3e3dcc2-f091-47be-b937-7067e8d8998e" providerId="ADAL" clId="{BDA56503-2F5F-4890-A981-3E802E3B1002}" dt="2021-05-23T09:24:18.215" v="346"/>
          <ac:spMkLst>
            <pc:docMk/>
            <pc:sldMk cId="3588828647" sldId="1050"/>
            <ac:spMk id="82" creationId="{45678503-4773-4312-8E05-397572A88E0E}"/>
          </ac:spMkLst>
        </pc:spChg>
        <pc:spChg chg="mod">
          <ac:chgData name="Khandelwal, Rahul" userId="a3e3dcc2-f091-47be-b937-7067e8d8998e" providerId="ADAL" clId="{BDA56503-2F5F-4890-A981-3E802E3B1002}" dt="2021-05-23T10:06:56.989" v="797" actId="108"/>
          <ac:spMkLst>
            <pc:docMk/>
            <pc:sldMk cId="3588828647" sldId="1050"/>
            <ac:spMk id="87" creationId="{163DB80B-E887-4B69-A272-6851E52A534F}"/>
          </ac:spMkLst>
        </pc:spChg>
        <pc:spChg chg="mod">
          <ac:chgData name="Khandelwal, Rahul" userId="a3e3dcc2-f091-47be-b937-7067e8d8998e" providerId="ADAL" clId="{BDA56503-2F5F-4890-A981-3E802E3B1002}" dt="2021-05-23T09:22:23.752" v="301" actId="1076"/>
          <ac:spMkLst>
            <pc:docMk/>
            <pc:sldMk cId="3588828647" sldId="1050"/>
            <ac:spMk id="88" creationId="{191C3D30-139B-4299-B202-947AE8300097}"/>
          </ac:spMkLst>
        </pc:spChg>
        <pc:spChg chg="mod">
          <ac:chgData name="Khandelwal, Rahul" userId="a3e3dcc2-f091-47be-b937-7067e8d8998e" providerId="ADAL" clId="{BDA56503-2F5F-4890-A981-3E802E3B1002}" dt="2021-05-23T09:22:07.246" v="296" actId="1076"/>
          <ac:spMkLst>
            <pc:docMk/>
            <pc:sldMk cId="3588828647" sldId="1050"/>
            <ac:spMk id="89" creationId="{F874453B-8ECA-4D19-B86E-2F7322010D3E}"/>
          </ac:spMkLst>
        </pc:spChg>
        <pc:spChg chg="mod">
          <ac:chgData name="Khandelwal, Rahul" userId="a3e3dcc2-f091-47be-b937-7067e8d8998e" providerId="ADAL" clId="{BDA56503-2F5F-4890-A981-3E802E3B1002}" dt="2021-05-23T09:52:19.496" v="672" actId="6549"/>
          <ac:spMkLst>
            <pc:docMk/>
            <pc:sldMk cId="3588828647" sldId="1050"/>
            <ac:spMk id="96" creationId="{3B9E6B8F-28A8-4790-8BD1-21BA7D0072E8}"/>
          </ac:spMkLst>
        </pc:spChg>
        <pc:spChg chg="del mod ord topLvl">
          <ac:chgData name="Khandelwal, Rahul" userId="a3e3dcc2-f091-47be-b937-7067e8d8998e" providerId="ADAL" clId="{BDA56503-2F5F-4890-A981-3E802E3B1002}" dt="2021-05-23T09:22:42.771" v="302" actId="478"/>
          <ac:spMkLst>
            <pc:docMk/>
            <pc:sldMk cId="3588828647" sldId="1050"/>
            <ac:spMk id="106" creationId="{F614E25C-44D7-43AF-B0FF-7D28368D70C3}"/>
          </ac:spMkLst>
        </pc:spChg>
        <pc:spChg chg="del topLvl">
          <ac:chgData name="Khandelwal, Rahul" userId="a3e3dcc2-f091-47be-b937-7067e8d8998e" providerId="ADAL" clId="{BDA56503-2F5F-4890-A981-3E802E3B1002}" dt="2021-05-23T09:21:36.367" v="288" actId="478"/>
          <ac:spMkLst>
            <pc:docMk/>
            <pc:sldMk cId="3588828647" sldId="1050"/>
            <ac:spMk id="107" creationId="{98E53CC9-2B4E-462E-8A82-E5E1E899EA3B}"/>
          </ac:spMkLst>
        </pc:spChg>
        <pc:spChg chg="del">
          <ac:chgData name="Khandelwal, Rahul" userId="a3e3dcc2-f091-47be-b937-7067e8d8998e" providerId="ADAL" clId="{BDA56503-2F5F-4890-A981-3E802E3B1002}" dt="2021-05-23T09:21:28.816" v="284" actId="478"/>
          <ac:spMkLst>
            <pc:docMk/>
            <pc:sldMk cId="3588828647" sldId="1050"/>
            <ac:spMk id="108" creationId="{94944C05-F576-4BB9-8AFB-CCF52FDBBF15}"/>
          </ac:spMkLst>
        </pc:spChg>
        <pc:spChg chg="del">
          <ac:chgData name="Khandelwal, Rahul" userId="a3e3dcc2-f091-47be-b937-7067e8d8998e" providerId="ADAL" clId="{BDA56503-2F5F-4890-A981-3E802E3B1002}" dt="2021-05-23T09:21:32.247" v="285" actId="478"/>
          <ac:spMkLst>
            <pc:docMk/>
            <pc:sldMk cId="3588828647" sldId="1050"/>
            <ac:spMk id="109" creationId="{0579524B-DAF4-4AAF-A8F2-2E09BF8C8F68}"/>
          </ac:spMkLst>
        </pc:spChg>
        <pc:spChg chg="add mod">
          <ac:chgData name="Khandelwal, Rahul" userId="a3e3dcc2-f091-47be-b937-7067e8d8998e" providerId="ADAL" clId="{BDA56503-2F5F-4890-A981-3E802E3B1002}" dt="2021-05-23T09:23:05.433" v="304" actId="164"/>
          <ac:spMkLst>
            <pc:docMk/>
            <pc:sldMk cId="3588828647" sldId="1050"/>
            <ac:spMk id="115" creationId="{FE944096-C64A-46E7-BA20-47E5FFECBD2F}"/>
          </ac:spMkLst>
        </pc:spChg>
        <pc:spChg chg="add mod">
          <ac:chgData name="Khandelwal, Rahul" userId="a3e3dcc2-f091-47be-b937-7067e8d8998e" providerId="ADAL" clId="{BDA56503-2F5F-4890-A981-3E802E3B1002}" dt="2021-05-23T09:23:05.433" v="304" actId="164"/>
          <ac:spMkLst>
            <pc:docMk/>
            <pc:sldMk cId="3588828647" sldId="1050"/>
            <ac:spMk id="116" creationId="{7D135FE0-6206-49B8-98F1-73EC0067662C}"/>
          </ac:spMkLst>
        </pc:spChg>
        <pc:spChg chg="add mod">
          <ac:chgData name="Khandelwal, Rahul" userId="a3e3dcc2-f091-47be-b937-7067e8d8998e" providerId="ADAL" clId="{BDA56503-2F5F-4890-A981-3E802E3B1002}" dt="2021-05-23T09:23:16.853" v="306" actId="207"/>
          <ac:spMkLst>
            <pc:docMk/>
            <pc:sldMk cId="3588828647" sldId="1050"/>
            <ac:spMk id="117" creationId="{1BA88E5D-6E03-48A6-9AAB-1CA5C15115DD}"/>
          </ac:spMkLst>
        </pc:spChg>
        <pc:spChg chg="add mod">
          <ac:chgData name="Khandelwal, Rahul" userId="a3e3dcc2-f091-47be-b937-7067e8d8998e" providerId="ADAL" clId="{BDA56503-2F5F-4890-A981-3E802E3B1002}" dt="2021-05-23T09:23:05.433" v="304" actId="164"/>
          <ac:spMkLst>
            <pc:docMk/>
            <pc:sldMk cId="3588828647" sldId="1050"/>
            <ac:spMk id="118" creationId="{B7FF7573-04E5-4322-950B-8BD5187F966C}"/>
          </ac:spMkLst>
        </pc:spChg>
        <pc:spChg chg="add del">
          <ac:chgData name="Khandelwal, Rahul" userId="a3e3dcc2-f091-47be-b937-7067e8d8998e" providerId="ADAL" clId="{BDA56503-2F5F-4890-A981-3E802E3B1002}" dt="2021-05-23T09:30:20.692" v="349" actId="478"/>
          <ac:spMkLst>
            <pc:docMk/>
            <pc:sldMk cId="3588828647" sldId="1050"/>
            <ac:spMk id="129" creationId="{CB61D3D2-E958-4698-896D-920230B9DC4F}"/>
          </ac:spMkLst>
        </pc:spChg>
        <pc:grpChg chg="add mod">
          <ac:chgData name="Khandelwal, Rahul" userId="a3e3dcc2-f091-47be-b937-7067e8d8998e" providerId="ADAL" clId="{BDA56503-2F5F-4890-A981-3E802E3B1002}" dt="2021-05-23T09:23:07.685" v="305" actId="1076"/>
          <ac:grpSpMkLst>
            <pc:docMk/>
            <pc:sldMk cId="3588828647" sldId="1050"/>
            <ac:grpSpMk id="4" creationId="{D35BA4E3-F8E0-452F-A3BD-38F4786DC720}"/>
          </ac:grpSpMkLst>
        </pc:grpChg>
        <pc:grpChg chg="add del mod">
          <ac:chgData name="Khandelwal, Rahul" userId="a3e3dcc2-f091-47be-b937-7067e8d8998e" providerId="ADAL" clId="{BDA56503-2F5F-4890-A981-3E802E3B1002}" dt="2021-05-23T10:46:06.405" v="930" actId="478"/>
          <ac:grpSpMkLst>
            <pc:docMk/>
            <pc:sldMk cId="3588828647" sldId="1050"/>
            <ac:grpSpMk id="19" creationId="{20B482E4-D396-483E-BC60-C78849BA84F9}"/>
          </ac:grpSpMkLst>
        </pc:grpChg>
        <pc:grpChg chg="mod">
          <ac:chgData name="Khandelwal, Rahul" userId="a3e3dcc2-f091-47be-b937-7067e8d8998e" providerId="ADAL" clId="{BDA56503-2F5F-4890-A981-3E802E3B1002}" dt="2021-05-23T09:24:18.215" v="346"/>
          <ac:grpSpMkLst>
            <pc:docMk/>
            <pc:sldMk cId="3588828647" sldId="1050"/>
            <ac:grpSpMk id="54" creationId="{1FA01D49-E356-45C5-9E28-FFAD65850905}"/>
          </ac:grpSpMkLst>
        </pc:grpChg>
        <pc:grpChg chg="mod">
          <ac:chgData name="Khandelwal, Rahul" userId="a3e3dcc2-f091-47be-b937-7067e8d8998e" providerId="ADAL" clId="{BDA56503-2F5F-4890-A981-3E802E3B1002}" dt="2021-05-23T09:24:18.215" v="346"/>
          <ac:grpSpMkLst>
            <pc:docMk/>
            <pc:sldMk cId="3588828647" sldId="1050"/>
            <ac:grpSpMk id="56" creationId="{676C9093-BD67-498B-86A9-60EEB68F8950}"/>
          </ac:grpSpMkLst>
        </pc:grpChg>
        <pc:grpChg chg="add del">
          <ac:chgData name="Khandelwal, Rahul" userId="a3e3dcc2-f091-47be-b937-7067e8d8998e" providerId="ADAL" clId="{BDA56503-2F5F-4890-A981-3E802E3B1002}" dt="2021-05-23T09:21:36.367" v="288" actId="478"/>
          <ac:grpSpMkLst>
            <pc:docMk/>
            <pc:sldMk cId="3588828647" sldId="1050"/>
            <ac:grpSpMk id="105" creationId="{82A16861-1FC5-4BC9-AE11-99A9AB6FB31A}"/>
          </ac:grpSpMkLst>
        </pc:grpChg>
        <pc:grpChg chg="add del mod">
          <ac:chgData name="Khandelwal, Rahul" userId="a3e3dcc2-f091-47be-b937-7067e8d8998e" providerId="ADAL" clId="{BDA56503-2F5F-4890-A981-3E802E3B1002}" dt="2021-05-23T09:21:24.973" v="283"/>
          <ac:grpSpMkLst>
            <pc:docMk/>
            <pc:sldMk cId="3588828647" sldId="1050"/>
            <ac:grpSpMk id="110" creationId="{A61DE81B-29C6-4499-8652-F9D19289AED3}"/>
          </ac:grpSpMkLst>
        </pc:grpChg>
        <pc:grpChg chg="add mod">
          <ac:chgData name="Khandelwal, Rahul" userId="a3e3dcc2-f091-47be-b937-7067e8d8998e" providerId="ADAL" clId="{BDA56503-2F5F-4890-A981-3E802E3B1002}" dt="2021-05-23T09:23:22.337" v="308" actId="1076"/>
          <ac:grpSpMkLst>
            <pc:docMk/>
            <pc:sldMk cId="3588828647" sldId="1050"/>
            <ac:grpSpMk id="119" creationId="{BFB72E09-F17B-457D-B5D0-DCC27C419EF9}"/>
          </ac:grpSpMkLst>
        </pc:grpChg>
        <pc:grpChg chg="add mod">
          <ac:chgData name="Khandelwal, Rahul" userId="a3e3dcc2-f091-47be-b937-7067e8d8998e" providerId="ADAL" clId="{BDA56503-2F5F-4890-A981-3E802E3B1002}" dt="2021-05-23T09:23:27.077" v="310" actId="1076"/>
          <ac:grpSpMkLst>
            <pc:docMk/>
            <pc:sldMk cId="3588828647" sldId="1050"/>
            <ac:grpSpMk id="124" creationId="{D4D47B1B-AD8A-44F0-A6FE-215E61569162}"/>
          </ac:grpSpMkLst>
        </pc:grpChg>
        <pc:picChg chg="del">
          <ac:chgData name="Khandelwal, Rahul" userId="a3e3dcc2-f091-47be-b937-7067e8d8998e" providerId="ADAL" clId="{BDA56503-2F5F-4890-A981-3E802E3B1002}" dt="2021-05-23T09:48:59.571" v="652" actId="478"/>
          <ac:picMkLst>
            <pc:docMk/>
            <pc:sldMk cId="3588828647" sldId="1050"/>
            <ac:picMk id="8" creationId="{3D840D3B-DC8D-4F9F-AD76-3BC0D01C00CC}"/>
          </ac:picMkLst>
        </pc:picChg>
        <pc:picChg chg="del">
          <ac:chgData name="Khandelwal, Rahul" userId="a3e3dcc2-f091-47be-b937-7067e8d8998e" providerId="ADAL" clId="{BDA56503-2F5F-4890-A981-3E802E3B1002}" dt="2021-05-23T09:48:56.243" v="650" actId="478"/>
          <ac:picMkLst>
            <pc:docMk/>
            <pc:sldMk cId="3588828647" sldId="1050"/>
            <ac:picMk id="10" creationId="{FE9653CE-3897-4E5F-B66E-C9F510690502}"/>
          </ac:picMkLst>
        </pc:picChg>
        <pc:picChg chg="del">
          <ac:chgData name="Khandelwal, Rahul" userId="a3e3dcc2-f091-47be-b937-7067e8d8998e" providerId="ADAL" clId="{BDA56503-2F5F-4890-A981-3E802E3B1002}" dt="2021-05-23T09:48:47.976" v="648" actId="478"/>
          <ac:picMkLst>
            <pc:docMk/>
            <pc:sldMk cId="3588828647" sldId="1050"/>
            <ac:picMk id="12" creationId="{DA512386-2F2A-4C51-A988-663BCC45FCE7}"/>
          </ac:picMkLst>
        </pc:picChg>
        <pc:picChg chg="del">
          <ac:chgData name="Khandelwal, Rahul" userId="a3e3dcc2-f091-47be-b937-7067e8d8998e" providerId="ADAL" clId="{BDA56503-2F5F-4890-A981-3E802E3B1002}" dt="2021-05-23T09:48:53.530" v="649" actId="478"/>
          <ac:picMkLst>
            <pc:docMk/>
            <pc:sldMk cId="3588828647" sldId="1050"/>
            <ac:picMk id="14" creationId="{6FE9B69B-8135-4A55-BE3D-2F845BFE3786}"/>
          </ac:picMkLst>
        </pc:picChg>
        <pc:picChg chg="del">
          <ac:chgData name="Khandelwal, Rahul" userId="a3e3dcc2-f091-47be-b937-7067e8d8998e" providerId="ADAL" clId="{BDA56503-2F5F-4890-A981-3E802E3B1002}" dt="2021-05-23T09:49:01.017" v="653" actId="478"/>
          <ac:picMkLst>
            <pc:docMk/>
            <pc:sldMk cId="3588828647" sldId="1050"/>
            <ac:picMk id="18" creationId="{B57207DB-CC1F-4215-A061-5102FBE9FF2E}"/>
          </ac:picMkLst>
        </pc:picChg>
        <pc:picChg chg="del">
          <ac:chgData name="Khandelwal, Rahul" userId="a3e3dcc2-f091-47be-b937-7067e8d8998e" providerId="ADAL" clId="{BDA56503-2F5F-4890-A981-3E802E3B1002}" dt="2021-05-23T09:49:38.914" v="659" actId="478"/>
          <ac:picMkLst>
            <pc:docMk/>
            <pc:sldMk cId="3588828647" sldId="1050"/>
            <ac:picMk id="20" creationId="{CFFFA1F2-84DF-4BC2-AF70-190D34497486}"/>
          </ac:picMkLst>
        </pc:picChg>
        <pc:picChg chg="del">
          <ac:chgData name="Khandelwal, Rahul" userId="a3e3dcc2-f091-47be-b937-7067e8d8998e" providerId="ADAL" clId="{BDA56503-2F5F-4890-A981-3E802E3B1002}" dt="2021-05-23T10:44:07.164" v="916" actId="478"/>
          <ac:picMkLst>
            <pc:docMk/>
            <pc:sldMk cId="3588828647" sldId="1050"/>
            <ac:picMk id="21" creationId="{B02F87A7-D5C4-4267-9AAE-5808BD502DF6}"/>
          </ac:picMkLst>
        </pc:picChg>
        <pc:picChg chg="del mod">
          <ac:chgData name="Khandelwal, Rahul" userId="a3e3dcc2-f091-47be-b937-7067e8d8998e" providerId="ADAL" clId="{BDA56503-2F5F-4890-A981-3E802E3B1002}" dt="2021-05-23T10:46:06.405" v="930" actId="478"/>
          <ac:picMkLst>
            <pc:docMk/>
            <pc:sldMk cId="3588828647" sldId="1050"/>
            <ac:picMk id="22" creationId="{C5B06298-C380-432D-A530-CE21ABC6B2D2}"/>
          </ac:picMkLst>
        </pc:picChg>
        <pc:picChg chg="del">
          <ac:chgData name="Khandelwal, Rahul" userId="a3e3dcc2-f091-47be-b937-7067e8d8998e" providerId="ADAL" clId="{BDA56503-2F5F-4890-A981-3E802E3B1002}" dt="2021-05-23T09:49:37.367" v="658" actId="478"/>
          <ac:picMkLst>
            <pc:docMk/>
            <pc:sldMk cId="3588828647" sldId="1050"/>
            <ac:picMk id="23" creationId="{C3B47BD9-CA37-4611-8720-8F68C3C027EF}"/>
          </ac:picMkLst>
        </pc:picChg>
        <pc:picChg chg="del">
          <ac:chgData name="Khandelwal, Rahul" userId="a3e3dcc2-f091-47be-b937-7067e8d8998e" providerId="ADAL" clId="{BDA56503-2F5F-4890-A981-3E802E3B1002}" dt="2021-05-23T10:44:10.793" v="919" actId="478"/>
          <ac:picMkLst>
            <pc:docMk/>
            <pc:sldMk cId="3588828647" sldId="1050"/>
            <ac:picMk id="24" creationId="{8F27C65A-62D7-4D28-ABAD-0A08C50D5F3E}"/>
          </ac:picMkLst>
        </pc:picChg>
        <pc:picChg chg="del">
          <ac:chgData name="Khandelwal, Rahul" userId="a3e3dcc2-f091-47be-b937-7067e8d8998e" providerId="ADAL" clId="{BDA56503-2F5F-4890-A981-3E802E3B1002}" dt="2021-05-23T09:49:28.186" v="655" actId="478"/>
          <ac:picMkLst>
            <pc:docMk/>
            <pc:sldMk cId="3588828647" sldId="1050"/>
            <ac:picMk id="25" creationId="{390695D3-54AF-442B-BEF1-2DC791FC54B4}"/>
          </ac:picMkLst>
        </pc:picChg>
        <pc:picChg chg="add del">
          <ac:chgData name="Khandelwal, Rahul" userId="a3e3dcc2-f091-47be-b937-7067e8d8998e" providerId="ADAL" clId="{BDA56503-2F5F-4890-A981-3E802E3B1002}" dt="2021-05-23T10:44:01.198" v="912" actId="478"/>
          <ac:picMkLst>
            <pc:docMk/>
            <pc:sldMk cId="3588828647" sldId="1050"/>
            <ac:picMk id="26" creationId="{4D329343-BAB6-4787-B207-23378C5DED96}"/>
          </ac:picMkLst>
        </pc:picChg>
        <pc:picChg chg="del">
          <ac:chgData name="Khandelwal, Rahul" userId="a3e3dcc2-f091-47be-b937-7067e8d8998e" providerId="ADAL" clId="{BDA56503-2F5F-4890-A981-3E802E3B1002}" dt="2021-05-23T10:44:05.516" v="915" actId="478"/>
          <ac:picMkLst>
            <pc:docMk/>
            <pc:sldMk cId="3588828647" sldId="1050"/>
            <ac:picMk id="27" creationId="{A86B01A0-FD22-4F7A-A5EB-DD71AF0E9C61}"/>
          </ac:picMkLst>
        </pc:picChg>
        <pc:picChg chg="del mod">
          <ac:chgData name="Khandelwal, Rahul" userId="a3e3dcc2-f091-47be-b937-7067e8d8998e" providerId="ADAL" clId="{BDA56503-2F5F-4890-A981-3E802E3B1002}" dt="2021-05-23T10:44:08.754" v="918" actId="478"/>
          <ac:picMkLst>
            <pc:docMk/>
            <pc:sldMk cId="3588828647" sldId="1050"/>
            <ac:picMk id="28" creationId="{B73E13BF-5D72-483F-A609-214EF29B9AF0}"/>
          </ac:picMkLst>
        </pc:picChg>
        <pc:picChg chg="del mod">
          <ac:chgData name="Khandelwal, Rahul" userId="a3e3dcc2-f091-47be-b937-7067e8d8998e" providerId="ADAL" clId="{BDA56503-2F5F-4890-A981-3E802E3B1002}" dt="2021-05-23T10:44:11.841" v="920" actId="478"/>
          <ac:picMkLst>
            <pc:docMk/>
            <pc:sldMk cId="3588828647" sldId="1050"/>
            <ac:picMk id="29" creationId="{037B3942-19A8-4A4C-86CE-686B6B961BED}"/>
          </ac:picMkLst>
        </pc:picChg>
        <pc:picChg chg="del">
          <ac:chgData name="Khandelwal, Rahul" userId="a3e3dcc2-f091-47be-b937-7067e8d8998e" providerId="ADAL" clId="{BDA56503-2F5F-4890-A981-3E802E3B1002}" dt="2021-05-23T09:49:42.107" v="660" actId="478"/>
          <ac:picMkLst>
            <pc:docMk/>
            <pc:sldMk cId="3588828647" sldId="1050"/>
            <ac:picMk id="30" creationId="{49135254-1311-47E2-A9F7-8E0D403546FD}"/>
          </ac:picMkLst>
        </pc:picChg>
        <pc:picChg chg="mod">
          <ac:chgData name="Khandelwal, Rahul" userId="a3e3dcc2-f091-47be-b937-7067e8d8998e" providerId="ADAL" clId="{BDA56503-2F5F-4890-A981-3E802E3B1002}" dt="2021-05-23T10:16:28.616" v="815" actId="1076"/>
          <ac:picMkLst>
            <pc:docMk/>
            <pc:sldMk cId="3588828647" sldId="1050"/>
            <ac:picMk id="31" creationId="{51131613-E53D-4BEC-A4A2-15D7B0CBA30F}"/>
          </ac:picMkLst>
        </pc:picChg>
        <pc:picChg chg="mod">
          <ac:chgData name="Khandelwal, Rahul" userId="a3e3dcc2-f091-47be-b937-7067e8d8998e" providerId="ADAL" clId="{BDA56503-2F5F-4890-A981-3E802E3B1002}" dt="2021-05-23T10:43:41.932" v="906" actId="1076"/>
          <ac:picMkLst>
            <pc:docMk/>
            <pc:sldMk cId="3588828647" sldId="1050"/>
            <ac:picMk id="32" creationId="{2E89EFD9-4410-4F89-8368-B412C42FC22F}"/>
          </ac:picMkLst>
        </pc:picChg>
        <pc:picChg chg="mod">
          <ac:chgData name="Khandelwal, Rahul" userId="a3e3dcc2-f091-47be-b937-7067e8d8998e" providerId="ADAL" clId="{BDA56503-2F5F-4890-A981-3E802E3B1002}" dt="2021-05-23T10:43:41.932" v="906" actId="1076"/>
          <ac:picMkLst>
            <pc:docMk/>
            <pc:sldMk cId="3588828647" sldId="1050"/>
            <ac:picMk id="33" creationId="{22E86D19-F349-4D3E-9F4A-2767F39E9137}"/>
          </ac:picMkLst>
        </pc:picChg>
        <pc:picChg chg="mod">
          <ac:chgData name="Khandelwal, Rahul" userId="a3e3dcc2-f091-47be-b937-7067e8d8998e" providerId="ADAL" clId="{BDA56503-2F5F-4890-A981-3E802E3B1002}" dt="2021-05-23T09:51:00.611" v="668" actId="1076"/>
          <ac:picMkLst>
            <pc:docMk/>
            <pc:sldMk cId="3588828647" sldId="1050"/>
            <ac:picMk id="34" creationId="{BA734BE0-A62A-4CEF-8D23-2D3E12A50F6A}"/>
          </ac:picMkLst>
        </pc:picChg>
        <pc:picChg chg="del">
          <ac:chgData name="Khandelwal, Rahul" userId="a3e3dcc2-f091-47be-b937-7067e8d8998e" providerId="ADAL" clId="{BDA56503-2F5F-4890-A981-3E802E3B1002}" dt="2021-05-23T09:48:58.225" v="651" actId="478"/>
          <ac:picMkLst>
            <pc:docMk/>
            <pc:sldMk cId="3588828647" sldId="1050"/>
            <ac:picMk id="35" creationId="{D0B93284-EEA6-474C-B1BF-F8C3CD4AA190}"/>
          </ac:picMkLst>
        </pc:picChg>
        <pc:picChg chg="del">
          <ac:chgData name="Khandelwal, Rahul" userId="a3e3dcc2-f091-47be-b937-7067e8d8998e" providerId="ADAL" clId="{BDA56503-2F5F-4890-A981-3E802E3B1002}" dt="2021-05-23T09:49:58.503" v="662" actId="478"/>
          <ac:picMkLst>
            <pc:docMk/>
            <pc:sldMk cId="3588828647" sldId="1050"/>
            <ac:picMk id="37" creationId="{206EC66A-5403-4917-B961-FE5458F97398}"/>
          </ac:picMkLst>
        </pc:picChg>
        <pc:picChg chg="mod">
          <ac:chgData name="Khandelwal, Rahul" userId="a3e3dcc2-f091-47be-b937-7067e8d8998e" providerId="ADAL" clId="{BDA56503-2F5F-4890-A981-3E802E3B1002}" dt="2021-05-23T09:51:02.074" v="669" actId="1076"/>
          <ac:picMkLst>
            <pc:docMk/>
            <pc:sldMk cId="3588828647" sldId="1050"/>
            <ac:picMk id="38" creationId="{827E5100-D542-4BA0-8CD2-11389AF46AEF}"/>
          </ac:picMkLst>
        </pc:picChg>
        <pc:picChg chg="mod">
          <ac:chgData name="Khandelwal, Rahul" userId="a3e3dcc2-f091-47be-b937-7067e8d8998e" providerId="ADAL" clId="{BDA56503-2F5F-4890-A981-3E802E3B1002}" dt="2021-05-23T09:51:04.242" v="670" actId="1076"/>
          <ac:picMkLst>
            <pc:docMk/>
            <pc:sldMk cId="3588828647" sldId="1050"/>
            <ac:picMk id="39" creationId="{B42DE0AA-5D81-437D-8CE3-BA87194F9A55}"/>
          </ac:picMkLst>
        </pc:picChg>
        <pc:picChg chg="del mod">
          <ac:chgData name="Khandelwal, Rahul" userId="a3e3dcc2-f091-47be-b937-7067e8d8998e" providerId="ADAL" clId="{BDA56503-2F5F-4890-A981-3E802E3B1002}" dt="2021-05-23T11:02:13.453" v="1212" actId="478"/>
          <ac:picMkLst>
            <pc:docMk/>
            <pc:sldMk cId="3588828647" sldId="1050"/>
            <ac:picMk id="40" creationId="{781398DA-0ADF-4BA6-91A2-D04EB8E115A1}"/>
          </ac:picMkLst>
        </pc:picChg>
        <pc:picChg chg="mod">
          <ac:chgData name="Khandelwal, Rahul" userId="a3e3dcc2-f091-47be-b937-7067e8d8998e" providerId="ADAL" clId="{BDA56503-2F5F-4890-A981-3E802E3B1002}" dt="2021-05-23T09:49:04.884" v="654" actId="1076"/>
          <ac:picMkLst>
            <pc:docMk/>
            <pc:sldMk cId="3588828647" sldId="1050"/>
            <ac:picMk id="41" creationId="{C43C9AB9-FC56-4C21-AD3C-05B30C3B2EAF}"/>
          </ac:picMkLst>
        </pc:picChg>
        <pc:picChg chg="mod">
          <ac:chgData name="Khandelwal, Rahul" userId="a3e3dcc2-f091-47be-b937-7067e8d8998e" providerId="ADAL" clId="{BDA56503-2F5F-4890-A981-3E802E3B1002}" dt="2021-05-23T09:50:57.243" v="667" actId="1076"/>
          <ac:picMkLst>
            <pc:docMk/>
            <pc:sldMk cId="3588828647" sldId="1050"/>
            <ac:picMk id="43" creationId="{98F9913D-B5E8-4087-BBB4-6FECB5D137BD}"/>
          </ac:picMkLst>
        </pc:picChg>
        <pc:picChg chg="mod">
          <ac:chgData name="Khandelwal, Rahul" userId="a3e3dcc2-f091-47be-b937-7067e8d8998e" providerId="ADAL" clId="{BDA56503-2F5F-4890-A981-3E802E3B1002}" dt="2021-05-23T09:50:04.730" v="665" actId="1076"/>
          <ac:picMkLst>
            <pc:docMk/>
            <pc:sldMk cId="3588828647" sldId="1050"/>
            <ac:picMk id="44" creationId="{3FFD8A1F-7AF3-4F89-ABF9-25181A0CA52C}"/>
          </ac:picMkLst>
        </pc:picChg>
        <pc:picChg chg="del">
          <ac:chgData name="Khandelwal, Rahul" userId="a3e3dcc2-f091-47be-b937-7067e8d8998e" providerId="ADAL" clId="{BDA56503-2F5F-4890-A981-3E802E3B1002}" dt="2021-05-23T09:50:02.464" v="664" actId="478"/>
          <ac:picMkLst>
            <pc:docMk/>
            <pc:sldMk cId="3588828647" sldId="1050"/>
            <ac:picMk id="104" creationId="{27DA10E9-15F8-4627-A2D9-B3CE73106C19}"/>
          </ac:picMkLst>
        </pc:picChg>
        <pc:picChg chg="add mod">
          <ac:chgData name="Khandelwal, Rahul" userId="a3e3dcc2-f091-47be-b937-7067e8d8998e" providerId="ADAL" clId="{BDA56503-2F5F-4890-A981-3E802E3B1002}" dt="2021-05-23T10:45:20.627" v="926" actId="1076"/>
          <ac:picMkLst>
            <pc:docMk/>
            <pc:sldMk cId="3588828647" sldId="1050"/>
            <ac:picMk id="24578" creationId="{CB3E28AF-DB15-4003-A5DC-812CCC1D4E3D}"/>
          </ac:picMkLst>
        </pc:picChg>
        <pc:picChg chg="add del mod">
          <ac:chgData name="Khandelwal, Rahul" userId="a3e3dcc2-f091-47be-b937-7067e8d8998e" providerId="ADAL" clId="{BDA56503-2F5F-4890-A981-3E802E3B1002}" dt="2021-05-23T10:46:36.002" v="934" actId="478"/>
          <ac:picMkLst>
            <pc:docMk/>
            <pc:sldMk cId="3588828647" sldId="1050"/>
            <ac:picMk id="24580" creationId="{63607DF8-D111-4B0F-B2F1-04B6A7C00583}"/>
          </ac:picMkLst>
        </pc:picChg>
        <pc:picChg chg="add del mod">
          <ac:chgData name="Khandelwal, Rahul" userId="a3e3dcc2-f091-47be-b937-7067e8d8998e" providerId="ADAL" clId="{BDA56503-2F5F-4890-A981-3E802E3B1002}" dt="2021-05-23T10:48:21.940" v="948" actId="478"/>
          <ac:picMkLst>
            <pc:docMk/>
            <pc:sldMk cId="3588828647" sldId="1050"/>
            <ac:picMk id="24582" creationId="{E76269A4-95DA-4AB3-8868-2E99CEFE70B3}"/>
          </ac:picMkLst>
        </pc:picChg>
        <pc:picChg chg="add del mod">
          <ac:chgData name="Khandelwal, Rahul" userId="a3e3dcc2-f091-47be-b937-7067e8d8998e" providerId="ADAL" clId="{BDA56503-2F5F-4890-A981-3E802E3B1002}" dt="2021-05-23T10:48:20.151" v="947"/>
          <ac:picMkLst>
            <pc:docMk/>
            <pc:sldMk cId="3588828647" sldId="1050"/>
            <ac:picMk id="24584" creationId="{F414779B-0E62-42A5-8C2F-63A0BB1905FB}"/>
          </ac:picMkLst>
        </pc:picChg>
        <pc:picChg chg="add del mod">
          <ac:chgData name="Khandelwal, Rahul" userId="a3e3dcc2-f091-47be-b937-7067e8d8998e" providerId="ADAL" clId="{BDA56503-2F5F-4890-A981-3E802E3B1002}" dt="2021-05-23T10:48:27.678" v="952" actId="478"/>
          <ac:picMkLst>
            <pc:docMk/>
            <pc:sldMk cId="3588828647" sldId="1050"/>
            <ac:picMk id="24586" creationId="{6ED8D5DC-E064-4ED4-8579-732B15ECA6AD}"/>
          </ac:picMkLst>
        </pc:picChg>
        <pc:picChg chg="add del mod">
          <ac:chgData name="Khandelwal, Rahul" userId="a3e3dcc2-f091-47be-b937-7067e8d8998e" providerId="ADAL" clId="{BDA56503-2F5F-4890-A981-3E802E3B1002}" dt="2021-05-23T10:50:33.719" v="1016" actId="478"/>
          <ac:picMkLst>
            <pc:docMk/>
            <pc:sldMk cId="3588828647" sldId="1050"/>
            <ac:picMk id="24588" creationId="{FC0D7533-8295-4625-8969-7D6C437767E0}"/>
          </ac:picMkLst>
        </pc:picChg>
        <pc:picChg chg="add del mod">
          <ac:chgData name="Khandelwal, Rahul" userId="a3e3dcc2-f091-47be-b937-7067e8d8998e" providerId="ADAL" clId="{BDA56503-2F5F-4890-A981-3E802E3B1002}" dt="2021-05-23T10:50:10.806" v="1005"/>
          <ac:picMkLst>
            <pc:docMk/>
            <pc:sldMk cId="3588828647" sldId="1050"/>
            <ac:picMk id="24590" creationId="{33224F5A-233F-4CFE-BF90-06FAA8F6C353}"/>
          </ac:picMkLst>
        </pc:picChg>
        <pc:picChg chg="add mod">
          <ac:chgData name="Khandelwal, Rahul" userId="a3e3dcc2-f091-47be-b937-7067e8d8998e" providerId="ADAL" clId="{BDA56503-2F5F-4890-A981-3E802E3B1002}" dt="2021-05-23T10:50:36.788" v="1017" actId="1076"/>
          <ac:picMkLst>
            <pc:docMk/>
            <pc:sldMk cId="3588828647" sldId="1050"/>
            <ac:picMk id="24592" creationId="{205E7174-129B-4B0D-B342-0FD1D8A872A4}"/>
          </ac:picMkLst>
        </pc:picChg>
        <pc:picChg chg="add del">
          <ac:chgData name="Khandelwal, Rahul" userId="a3e3dcc2-f091-47be-b937-7067e8d8998e" providerId="ADAL" clId="{BDA56503-2F5F-4890-A981-3E802E3B1002}" dt="2021-05-23T10:51:05.352" v="1019" actId="478"/>
          <ac:picMkLst>
            <pc:docMk/>
            <pc:sldMk cId="3588828647" sldId="1050"/>
            <ac:picMk id="24594" creationId="{3177D30F-FA82-4C0E-87CC-F7B80CA282F4}"/>
          </ac:picMkLst>
        </pc:picChg>
        <pc:picChg chg="add del">
          <ac:chgData name="Khandelwal, Rahul" userId="a3e3dcc2-f091-47be-b937-7067e8d8998e" providerId="ADAL" clId="{BDA56503-2F5F-4890-A981-3E802E3B1002}" dt="2021-05-23T10:51:11.691" v="1021" actId="478"/>
          <ac:picMkLst>
            <pc:docMk/>
            <pc:sldMk cId="3588828647" sldId="1050"/>
            <ac:picMk id="24596" creationId="{596F44D9-E511-49FE-936A-F4979B9ECFEC}"/>
          </ac:picMkLst>
        </pc:picChg>
        <pc:picChg chg="add mod">
          <ac:chgData name="Khandelwal, Rahul" userId="a3e3dcc2-f091-47be-b937-7067e8d8998e" providerId="ADAL" clId="{BDA56503-2F5F-4890-A981-3E802E3B1002}" dt="2021-05-23T10:51:43.684" v="1027" actId="1076"/>
          <ac:picMkLst>
            <pc:docMk/>
            <pc:sldMk cId="3588828647" sldId="1050"/>
            <ac:picMk id="24598" creationId="{FF143E15-95D0-48C0-9AE8-D162C3849D8C}"/>
          </ac:picMkLst>
        </pc:picChg>
        <pc:picChg chg="add mod">
          <ac:chgData name="Khandelwal, Rahul" userId="a3e3dcc2-f091-47be-b937-7067e8d8998e" providerId="ADAL" clId="{BDA56503-2F5F-4890-A981-3E802E3B1002}" dt="2021-05-23T11:02:34.320" v="1218" actId="1076"/>
          <ac:picMkLst>
            <pc:docMk/>
            <pc:sldMk cId="3588828647" sldId="1050"/>
            <ac:picMk id="24600" creationId="{98E2172F-840A-42EE-AC50-361320AF2751}"/>
          </ac:picMkLst>
        </pc:picChg>
      </pc:sldChg>
      <pc:sldChg chg="delSp modSp del">
        <pc:chgData name="Khandelwal, Rahul" userId="a3e3dcc2-f091-47be-b937-7067e8d8998e" providerId="ADAL" clId="{BDA56503-2F5F-4890-A981-3E802E3B1002}" dt="2021-05-23T10:16:54.760" v="817" actId="2696"/>
        <pc:sldMkLst>
          <pc:docMk/>
          <pc:sldMk cId="3113555520" sldId="1051"/>
        </pc:sldMkLst>
        <pc:spChg chg="del">
          <ac:chgData name="Khandelwal, Rahul" userId="a3e3dcc2-f091-47be-b937-7067e8d8998e" providerId="ADAL" clId="{BDA56503-2F5F-4890-A981-3E802E3B1002}" dt="2021-05-23T09:03:17.379" v="280" actId="478"/>
          <ac:spMkLst>
            <pc:docMk/>
            <pc:sldMk cId="3113555520" sldId="1051"/>
            <ac:spMk id="13" creationId="{80A9A069-2BA1-4E53-9B49-A04D67FA0C3F}"/>
          </ac:spMkLst>
        </pc:spChg>
        <pc:spChg chg="mod">
          <ac:chgData name="Khandelwal, Rahul" userId="a3e3dcc2-f091-47be-b937-7067e8d8998e" providerId="ADAL" clId="{BDA56503-2F5F-4890-A981-3E802E3B1002}" dt="2021-05-23T08:51:42.411" v="278" actId="20577"/>
          <ac:spMkLst>
            <pc:docMk/>
            <pc:sldMk cId="3113555520" sldId="1051"/>
            <ac:spMk id="14" creationId="{64755E8B-422D-42D1-A8B0-34337F04E437}"/>
          </ac:spMkLst>
        </pc:spChg>
        <pc:spChg chg="del">
          <ac:chgData name="Khandelwal, Rahul" userId="a3e3dcc2-f091-47be-b937-7067e8d8998e" providerId="ADAL" clId="{BDA56503-2F5F-4890-A981-3E802E3B1002}" dt="2021-05-23T09:03:14.570" v="279" actId="478"/>
          <ac:spMkLst>
            <pc:docMk/>
            <pc:sldMk cId="3113555520" sldId="1051"/>
            <ac:spMk id="18" creationId="{2B5FA8C1-3420-4A51-A322-D09D92E329DC}"/>
          </ac:spMkLst>
        </pc:spChg>
      </pc:sldChg>
      <pc:sldChg chg="addSp delSp modSp">
        <pc:chgData name="Khandelwal, Rahul" userId="a3e3dcc2-f091-47be-b937-7067e8d8998e" providerId="ADAL" clId="{BDA56503-2F5F-4890-A981-3E802E3B1002}" dt="2021-05-23T11:01:15.744" v="1210" actId="20577"/>
        <pc:sldMkLst>
          <pc:docMk/>
          <pc:sldMk cId="1937246165" sldId="1052"/>
        </pc:sldMkLst>
        <pc:spChg chg="mod">
          <ac:chgData name="Khandelwal, Rahul" userId="a3e3dcc2-f091-47be-b937-7067e8d8998e" providerId="ADAL" clId="{BDA56503-2F5F-4890-A981-3E802E3B1002}" dt="2021-05-23T09:33:11.258" v="351" actId="14100"/>
          <ac:spMkLst>
            <pc:docMk/>
            <pc:sldMk cId="1937246165" sldId="1052"/>
            <ac:spMk id="2" creationId="{EB259469-3A7A-466B-9E6A-A9EF466BB6B1}"/>
          </ac:spMkLst>
        </pc:spChg>
        <pc:spChg chg="mod">
          <ac:chgData name="Khandelwal, Rahul" userId="a3e3dcc2-f091-47be-b937-7067e8d8998e" providerId="ADAL" clId="{BDA56503-2F5F-4890-A981-3E802E3B1002}" dt="2021-05-23T10:40:02.097" v="827" actId="6549"/>
          <ac:spMkLst>
            <pc:docMk/>
            <pc:sldMk cId="1937246165" sldId="1052"/>
            <ac:spMk id="3" creationId="{B34CEE90-98ED-44D7-88D9-7A0C3D8263B7}"/>
          </ac:spMkLst>
        </pc:spChg>
        <pc:spChg chg="mod">
          <ac:chgData name="Khandelwal, Rahul" userId="a3e3dcc2-f091-47be-b937-7067e8d8998e" providerId="ADAL" clId="{BDA56503-2F5F-4890-A981-3E802E3B1002}" dt="2021-05-23T11:01:15.744" v="1210" actId="20577"/>
          <ac:spMkLst>
            <pc:docMk/>
            <pc:sldMk cId="1937246165" sldId="1052"/>
            <ac:spMk id="4" creationId="{527E0806-218B-441D-9F53-F9258FF81775}"/>
          </ac:spMkLst>
        </pc:spChg>
        <pc:spChg chg="add mod">
          <ac:chgData name="Khandelwal, Rahul" userId="a3e3dcc2-f091-47be-b937-7067e8d8998e" providerId="ADAL" clId="{BDA56503-2F5F-4890-A981-3E802E3B1002}" dt="2021-05-23T10:42:46.144" v="890" actId="20577"/>
          <ac:spMkLst>
            <pc:docMk/>
            <pc:sldMk cId="1937246165" sldId="1052"/>
            <ac:spMk id="8" creationId="{FB6C38E7-A500-4C7B-AF36-FD88DA460098}"/>
          </ac:spMkLst>
        </pc:spChg>
        <pc:spChg chg="add del mod">
          <ac:chgData name="Khandelwal, Rahul" userId="a3e3dcc2-f091-47be-b937-7067e8d8998e" providerId="ADAL" clId="{BDA56503-2F5F-4890-A981-3E802E3B1002}" dt="2021-05-23T10:42:39.818" v="888"/>
          <ac:spMkLst>
            <pc:docMk/>
            <pc:sldMk cId="1937246165" sldId="1052"/>
            <ac:spMk id="9" creationId="{DE71B851-8636-4FB3-A720-18EDD1DB83DC}"/>
          </ac:spMkLst>
        </pc:spChg>
        <pc:spChg chg="add del mod">
          <ac:chgData name="Khandelwal, Rahul" userId="a3e3dcc2-f091-47be-b937-7067e8d8998e" providerId="ADAL" clId="{BDA56503-2F5F-4890-A981-3E802E3B1002}" dt="2021-05-23T10:41:43.718" v="845" actId="478"/>
          <ac:spMkLst>
            <pc:docMk/>
            <pc:sldMk cId="1937246165" sldId="1052"/>
            <ac:spMk id="10" creationId="{10F7B6D6-FEBB-4B00-82D0-2A37C246327F}"/>
          </ac:spMkLst>
        </pc:spChg>
        <pc:graphicFrameChg chg="del">
          <ac:chgData name="Khandelwal, Rahul" userId="a3e3dcc2-f091-47be-b937-7067e8d8998e" providerId="ADAL" clId="{BDA56503-2F5F-4890-A981-3E802E3B1002}" dt="2021-05-23T08:43:44.536" v="17" actId="478"/>
          <ac:graphicFrameMkLst>
            <pc:docMk/>
            <pc:sldMk cId="1937246165" sldId="1052"/>
            <ac:graphicFrameMk id="5" creationId="{6AC9B97D-2224-44C0-8872-353C14F05D1C}"/>
          </ac:graphicFrameMkLst>
        </pc:graphicFrameChg>
        <pc:graphicFrameChg chg="mod">
          <ac:chgData name="Khandelwal, Rahul" userId="a3e3dcc2-f091-47be-b937-7067e8d8998e" providerId="ADAL" clId="{BDA56503-2F5F-4890-A981-3E802E3B1002}" dt="2021-05-23T08:50:30.138" v="228" actId="20577"/>
          <ac:graphicFrameMkLst>
            <pc:docMk/>
            <pc:sldMk cId="1937246165" sldId="1052"/>
            <ac:graphicFrameMk id="6" creationId="{AE1B750D-E81D-46DD-8DE8-2E1FDACCE79D}"/>
          </ac:graphicFrameMkLst>
        </pc:graphicFrameChg>
        <pc:graphicFrameChg chg="add mod modGraphic">
          <ac:chgData name="Khandelwal, Rahul" userId="a3e3dcc2-f091-47be-b937-7067e8d8998e" providerId="ADAL" clId="{BDA56503-2F5F-4890-A981-3E802E3B1002}" dt="2021-05-23T10:52:58.038" v="1029" actId="255"/>
          <ac:graphicFrameMkLst>
            <pc:docMk/>
            <pc:sldMk cId="1937246165" sldId="1052"/>
            <ac:graphicFrameMk id="7" creationId="{F101AABD-79F0-4BD8-8F99-5941D501EEEE}"/>
          </ac:graphicFrameMkLst>
        </pc:graphicFrameChg>
      </pc:sldChg>
      <pc:sldChg chg="modSp add ord">
        <pc:chgData name="Khandelwal, Rahul" userId="a3e3dcc2-f091-47be-b937-7067e8d8998e" providerId="ADAL" clId="{BDA56503-2F5F-4890-A981-3E802E3B1002}" dt="2021-05-23T09:55:44.728" v="682"/>
        <pc:sldMkLst>
          <pc:docMk/>
          <pc:sldMk cId="3378819778" sldId="1987"/>
        </pc:sldMkLst>
        <pc:graphicFrameChg chg="mod">
          <ac:chgData name="Khandelwal, Rahul" userId="a3e3dcc2-f091-47be-b937-7067e8d8998e" providerId="ADAL" clId="{BDA56503-2F5F-4890-A981-3E802E3B1002}" dt="2021-05-23T09:27:46.816" v="347"/>
          <ac:graphicFrameMkLst>
            <pc:docMk/>
            <pc:sldMk cId="3378819778" sldId="1987"/>
            <ac:graphicFrameMk id="22" creationId="{7F439666-E14F-4833-9951-CDCE5B0C4BF8}"/>
          </ac:graphicFrameMkLst>
        </pc:graphicFrameChg>
      </pc:sldChg>
      <pc:sldChg chg="addSp delSp modSp add">
        <pc:chgData name="Khandelwal, Rahul" userId="a3e3dcc2-f091-47be-b937-7067e8d8998e" providerId="ADAL" clId="{BDA56503-2F5F-4890-A981-3E802E3B1002}" dt="2021-05-23T09:56:12.945" v="706" actId="20577"/>
        <pc:sldMkLst>
          <pc:docMk/>
          <pc:sldMk cId="1436470900" sldId="1988"/>
        </pc:sldMkLst>
        <pc:spChg chg="add del mod">
          <ac:chgData name="Khandelwal, Rahul" userId="a3e3dcc2-f091-47be-b937-7067e8d8998e" providerId="ADAL" clId="{BDA56503-2F5F-4890-A981-3E802E3B1002}" dt="2021-05-23T09:56:08.935" v="696"/>
          <ac:spMkLst>
            <pc:docMk/>
            <pc:sldMk cId="1436470900" sldId="1988"/>
            <ac:spMk id="2" creationId="{B75D5CD0-742F-407D-B167-FE453261F2F3}"/>
          </ac:spMkLst>
        </pc:spChg>
        <pc:spChg chg="add del mod">
          <ac:chgData name="Khandelwal, Rahul" userId="a3e3dcc2-f091-47be-b937-7067e8d8998e" providerId="ADAL" clId="{BDA56503-2F5F-4890-A981-3E802E3B1002}" dt="2021-05-23T09:56:08.935" v="696"/>
          <ac:spMkLst>
            <pc:docMk/>
            <pc:sldMk cId="1436470900" sldId="1988"/>
            <ac:spMk id="3" creationId="{B7D482BB-F4DD-4A54-8C8E-1D2ED5113804}"/>
          </ac:spMkLst>
        </pc:spChg>
        <pc:spChg chg="add mod">
          <ac:chgData name="Khandelwal, Rahul" userId="a3e3dcc2-f091-47be-b937-7067e8d8998e" providerId="ADAL" clId="{BDA56503-2F5F-4890-A981-3E802E3B1002}" dt="2021-05-23T09:56:12.945" v="706" actId="20577"/>
          <ac:spMkLst>
            <pc:docMk/>
            <pc:sldMk cId="1436470900" sldId="1988"/>
            <ac:spMk id="4" creationId="{6F106329-ABDA-4530-8E72-4B7BF39B6C50}"/>
          </ac:spMkLst>
        </pc:spChg>
      </pc:sldChg>
      <pc:sldChg chg="add del">
        <pc:chgData name="Khandelwal, Rahul" userId="a3e3dcc2-f091-47be-b937-7067e8d8998e" providerId="ADAL" clId="{BDA56503-2F5F-4890-A981-3E802E3B1002}" dt="2021-05-23T09:55:49.281" v="684"/>
        <pc:sldMkLst>
          <pc:docMk/>
          <pc:sldMk cId="1517329406" sldId="1988"/>
        </pc:sldMkLst>
      </pc:sldChg>
      <pc:sldChg chg="add del">
        <pc:chgData name="Khandelwal, Rahul" userId="a3e3dcc2-f091-47be-b937-7067e8d8998e" providerId="ADAL" clId="{BDA56503-2F5F-4890-A981-3E802E3B1002}" dt="2021-05-23T16:06:10.263" v="1231"/>
        <pc:sldMkLst>
          <pc:docMk/>
          <pc:sldMk cId="1114127279" sldId="1989"/>
        </pc:sldMkLst>
      </pc:sldChg>
      <pc:sldChg chg="add del">
        <pc:chgData name="Khandelwal, Rahul" userId="a3e3dcc2-f091-47be-b937-7067e8d8998e" providerId="ADAL" clId="{BDA56503-2F5F-4890-A981-3E802E3B1002}" dt="2021-05-23T16:06:13.743" v="1234" actId="2696"/>
        <pc:sldMkLst>
          <pc:docMk/>
          <pc:sldMk cId="1298842287" sldId="1989"/>
        </pc:sldMkLst>
      </pc:sldChg>
      <pc:sldChg chg="add ord">
        <pc:chgData name="Khandelwal, Rahul" userId="a3e3dcc2-f091-47be-b937-7067e8d8998e" providerId="ADAL" clId="{BDA56503-2F5F-4890-A981-3E802E3B1002}" dt="2021-05-23T16:16:25.113" v="1238"/>
        <pc:sldMkLst>
          <pc:docMk/>
          <pc:sldMk cId="3622275861" sldId="1989"/>
        </pc:sldMkLst>
      </pc:sldChg>
      <pc:sldMasterChg chg="addSldLayout delSldLayout">
        <pc:chgData name="Khandelwal, Rahul" userId="a3e3dcc2-f091-47be-b937-7067e8d8998e" providerId="ADAL" clId="{BDA56503-2F5F-4890-A981-3E802E3B1002}" dt="2021-05-23T16:06:13.750" v="1235" actId="2696"/>
        <pc:sldMasterMkLst>
          <pc:docMk/>
          <pc:sldMasterMk cId="1484430990" sldId="2147483887"/>
        </pc:sldMasterMkLst>
        <pc:sldLayoutChg chg="add del">
          <pc:chgData name="Khandelwal, Rahul" userId="a3e3dcc2-f091-47be-b937-7067e8d8998e" providerId="ADAL" clId="{BDA56503-2F5F-4890-A981-3E802E3B1002}" dt="2021-05-23T16:06:13.750" v="1235" actId="2696"/>
          <pc:sldLayoutMkLst>
            <pc:docMk/>
            <pc:sldMasterMk cId="1484430990" sldId="2147483887"/>
            <pc:sldLayoutMk cId="2824574584" sldId="2147483957"/>
          </pc:sldLayoutMkLst>
        </pc:sldLayoutChg>
      </pc:sldMasterChg>
      <pc:sldMasterChg chg="del delSldLayout">
        <pc:chgData name="Khandelwal, Rahul" userId="a3e3dcc2-f091-47be-b937-7067e8d8998e" providerId="ADAL" clId="{BDA56503-2F5F-4890-A981-3E802E3B1002}" dt="2021-05-23T09:58:23.940" v="720" actId="2696"/>
        <pc:sldMasterMkLst>
          <pc:docMk/>
          <pc:sldMasterMk cId="1360479903" sldId="2147483930"/>
        </pc:sldMasterMkLst>
        <pc:sldLayoutChg chg="del">
          <pc:chgData name="Khandelwal, Rahul" userId="a3e3dcc2-f091-47be-b937-7067e8d8998e" providerId="ADAL" clId="{BDA56503-2F5F-4890-A981-3E802E3B1002}" dt="2021-05-23T09:58:23.644" v="708" actId="2696"/>
          <pc:sldLayoutMkLst>
            <pc:docMk/>
            <pc:sldMasterMk cId="1360479903" sldId="2147483930"/>
            <pc:sldLayoutMk cId="3085982971" sldId="2147483931"/>
          </pc:sldLayoutMkLst>
        </pc:sldLayoutChg>
        <pc:sldLayoutChg chg="del">
          <pc:chgData name="Khandelwal, Rahul" userId="a3e3dcc2-f091-47be-b937-7067e8d8998e" providerId="ADAL" clId="{BDA56503-2F5F-4890-A981-3E802E3B1002}" dt="2021-05-23T09:58:23.645" v="709" actId="2696"/>
          <pc:sldLayoutMkLst>
            <pc:docMk/>
            <pc:sldMasterMk cId="1360479903" sldId="2147483930"/>
            <pc:sldLayoutMk cId="1619238096" sldId="2147483932"/>
          </pc:sldLayoutMkLst>
        </pc:sldLayoutChg>
        <pc:sldLayoutChg chg="del">
          <pc:chgData name="Khandelwal, Rahul" userId="a3e3dcc2-f091-47be-b937-7067e8d8998e" providerId="ADAL" clId="{BDA56503-2F5F-4890-A981-3E802E3B1002}" dt="2021-05-23T09:58:23.647" v="710" actId="2696"/>
          <pc:sldLayoutMkLst>
            <pc:docMk/>
            <pc:sldMasterMk cId="1360479903" sldId="2147483930"/>
            <pc:sldLayoutMk cId="3083681655" sldId="2147483933"/>
          </pc:sldLayoutMkLst>
        </pc:sldLayoutChg>
        <pc:sldLayoutChg chg="del">
          <pc:chgData name="Khandelwal, Rahul" userId="a3e3dcc2-f091-47be-b937-7067e8d8998e" providerId="ADAL" clId="{BDA56503-2F5F-4890-A981-3E802E3B1002}" dt="2021-05-23T09:58:23.649" v="711" actId="2696"/>
          <pc:sldLayoutMkLst>
            <pc:docMk/>
            <pc:sldMasterMk cId="1360479903" sldId="2147483930"/>
            <pc:sldLayoutMk cId="701406880" sldId="2147483934"/>
          </pc:sldLayoutMkLst>
        </pc:sldLayoutChg>
        <pc:sldLayoutChg chg="del">
          <pc:chgData name="Khandelwal, Rahul" userId="a3e3dcc2-f091-47be-b937-7067e8d8998e" providerId="ADAL" clId="{BDA56503-2F5F-4890-A981-3E802E3B1002}" dt="2021-05-23T09:58:23.678" v="712" actId="2696"/>
          <pc:sldLayoutMkLst>
            <pc:docMk/>
            <pc:sldMasterMk cId="1360479903" sldId="2147483930"/>
            <pc:sldLayoutMk cId="1269662757" sldId="2147483935"/>
          </pc:sldLayoutMkLst>
        </pc:sldLayoutChg>
        <pc:sldLayoutChg chg="del">
          <pc:chgData name="Khandelwal, Rahul" userId="a3e3dcc2-f091-47be-b937-7067e8d8998e" providerId="ADAL" clId="{BDA56503-2F5F-4890-A981-3E802E3B1002}" dt="2021-05-23T09:58:23.721" v="713" actId="2696"/>
          <pc:sldLayoutMkLst>
            <pc:docMk/>
            <pc:sldMasterMk cId="1360479903" sldId="2147483930"/>
            <pc:sldLayoutMk cId="3877110056" sldId="2147483936"/>
          </pc:sldLayoutMkLst>
        </pc:sldLayoutChg>
        <pc:sldLayoutChg chg="del">
          <pc:chgData name="Khandelwal, Rahul" userId="a3e3dcc2-f091-47be-b937-7067e8d8998e" providerId="ADAL" clId="{BDA56503-2F5F-4890-A981-3E802E3B1002}" dt="2021-05-23T09:58:23.724" v="714" actId="2696"/>
          <pc:sldLayoutMkLst>
            <pc:docMk/>
            <pc:sldMasterMk cId="1360479903" sldId="2147483930"/>
            <pc:sldLayoutMk cId="4114248895" sldId="2147483937"/>
          </pc:sldLayoutMkLst>
        </pc:sldLayoutChg>
        <pc:sldLayoutChg chg="del">
          <pc:chgData name="Khandelwal, Rahul" userId="a3e3dcc2-f091-47be-b937-7067e8d8998e" providerId="ADAL" clId="{BDA56503-2F5F-4890-A981-3E802E3B1002}" dt="2021-05-23T09:58:23.725" v="715" actId="2696"/>
          <pc:sldLayoutMkLst>
            <pc:docMk/>
            <pc:sldMasterMk cId="1360479903" sldId="2147483930"/>
            <pc:sldLayoutMk cId="2816763666" sldId="2147483938"/>
          </pc:sldLayoutMkLst>
        </pc:sldLayoutChg>
        <pc:sldLayoutChg chg="del">
          <pc:chgData name="Khandelwal, Rahul" userId="a3e3dcc2-f091-47be-b937-7067e8d8998e" providerId="ADAL" clId="{BDA56503-2F5F-4890-A981-3E802E3B1002}" dt="2021-05-23T09:58:23.741" v="716" actId="2696"/>
          <pc:sldLayoutMkLst>
            <pc:docMk/>
            <pc:sldMasterMk cId="1360479903" sldId="2147483930"/>
            <pc:sldLayoutMk cId="3244033885" sldId="2147483939"/>
          </pc:sldLayoutMkLst>
        </pc:sldLayoutChg>
        <pc:sldLayoutChg chg="del">
          <pc:chgData name="Khandelwal, Rahul" userId="a3e3dcc2-f091-47be-b937-7067e8d8998e" providerId="ADAL" clId="{BDA56503-2F5F-4890-A981-3E802E3B1002}" dt="2021-05-23T09:58:23.792" v="717" actId="2696"/>
          <pc:sldLayoutMkLst>
            <pc:docMk/>
            <pc:sldMasterMk cId="1360479903" sldId="2147483930"/>
            <pc:sldLayoutMk cId="151662219" sldId="2147483940"/>
          </pc:sldLayoutMkLst>
        </pc:sldLayoutChg>
        <pc:sldLayoutChg chg="del">
          <pc:chgData name="Khandelwal, Rahul" userId="a3e3dcc2-f091-47be-b937-7067e8d8998e" providerId="ADAL" clId="{BDA56503-2F5F-4890-A981-3E802E3B1002}" dt="2021-05-23T09:58:23.845" v="718" actId="2696"/>
          <pc:sldLayoutMkLst>
            <pc:docMk/>
            <pc:sldMasterMk cId="1360479903" sldId="2147483930"/>
            <pc:sldLayoutMk cId="2394268324" sldId="2147483941"/>
          </pc:sldLayoutMkLst>
        </pc:sldLayoutChg>
        <pc:sldLayoutChg chg="del">
          <pc:chgData name="Khandelwal, Rahul" userId="a3e3dcc2-f091-47be-b937-7067e8d8998e" providerId="ADAL" clId="{BDA56503-2F5F-4890-A981-3E802E3B1002}" dt="2021-05-23T09:58:23.891" v="719" actId="2696"/>
          <pc:sldLayoutMkLst>
            <pc:docMk/>
            <pc:sldMasterMk cId="1360479903" sldId="2147483930"/>
            <pc:sldLayoutMk cId="3342408271" sldId="2147483942"/>
          </pc:sldLayoutMkLst>
        </pc:sldLayoutChg>
      </pc:sldMasterChg>
    </pc:docChg>
  </pc:docChgLst>
  <pc:docChgLst>
    <pc:chgData name="Khandelwal, Rahul" userId="a3e3dcc2-f091-47be-b937-7067e8d8998e" providerId="ADAL" clId="{AC50A7E9-CB84-4BF0-AD9D-B7BA5EC23CA2}"/>
    <pc:docChg chg="undo custSel addSld delSld modSld sldOrd modSection">
      <pc:chgData name="Khandelwal, Rahul" userId="a3e3dcc2-f091-47be-b937-7067e8d8998e" providerId="ADAL" clId="{AC50A7E9-CB84-4BF0-AD9D-B7BA5EC23CA2}" dt="2021-05-24T06:33:29.262" v="2314" actId="20577"/>
      <pc:docMkLst>
        <pc:docMk/>
      </pc:docMkLst>
      <pc:sldChg chg="addSp modSp del ord">
        <pc:chgData name="Khandelwal, Rahul" userId="a3e3dcc2-f091-47be-b937-7067e8d8998e" providerId="ADAL" clId="{AC50A7E9-CB84-4BF0-AD9D-B7BA5EC23CA2}" dt="2021-05-22T14:24:15.219" v="1767" actId="2696"/>
        <pc:sldMkLst>
          <pc:docMk/>
          <pc:sldMk cId="2925443055" sldId="293"/>
        </pc:sldMkLst>
        <pc:spChg chg="add mod ord">
          <ac:chgData name="Khandelwal, Rahul" userId="a3e3dcc2-f091-47be-b937-7067e8d8998e" providerId="ADAL" clId="{AC50A7E9-CB84-4BF0-AD9D-B7BA5EC23CA2}" dt="2021-05-22T10:08:39.681" v="583" actId="207"/>
          <ac:spMkLst>
            <pc:docMk/>
            <pc:sldMk cId="2925443055" sldId="293"/>
            <ac:spMk id="2" creationId="{EB259469-3A7A-466B-9E6A-A9EF466BB6B1}"/>
          </ac:spMkLst>
        </pc:spChg>
        <pc:spChg chg="add mod">
          <ac:chgData name="Khandelwal, Rahul" userId="a3e3dcc2-f091-47be-b937-7067e8d8998e" providerId="ADAL" clId="{AC50A7E9-CB84-4BF0-AD9D-B7BA5EC23CA2}" dt="2021-05-22T14:08:26.572" v="1407" actId="1076"/>
          <ac:spMkLst>
            <pc:docMk/>
            <pc:sldMk cId="2925443055" sldId="293"/>
            <ac:spMk id="3" creationId="{B34CEE90-98ED-44D7-88D9-7A0C3D8263B7}"/>
          </ac:spMkLst>
        </pc:spChg>
        <pc:spChg chg="mod">
          <ac:chgData name="Khandelwal, Rahul" userId="a3e3dcc2-f091-47be-b937-7067e8d8998e" providerId="ADAL" clId="{AC50A7E9-CB84-4BF0-AD9D-B7BA5EC23CA2}" dt="2021-05-22T10:46:47.217" v="901" actId="20577"/>
          <ac:spMkLst>
            <pc:docMk/>
            <pc:sldMk cId="2925443055" sldId="293"/>
            <ac:spMk id="4" creationId="{527E0806-218B-441D-9F53-F9258FF81775}"/>
          </ac:spMkLst>
        </pc:spChg>
        <pc:spChg chg="add">
          <ac:chgData name="Khandelwal, Rahul" userId="a3e3dcc2-f091-47be-b937-7067e8d8998e" providerId="ADAL" clId="{AC50A7E9-CB84-4BF0-AD9D-B7BA5EC23CA2}" dt="2021-05-22T10:07:36.450" v="572"/>
          <ac:spMkLst>
            <pc:docMk/>
            <pc:sldMk cId="2925443055" sldId="293"/>
            <ac:spMk id="7" creationId="{9CFDE66A-37D4-4BFE-A429-00CE9E2D6B7A}"/>
          </ac:spMkLst>
        </pc:spChg>
        <pc:spChg chg="add">
          <ac:chgData name="Khandelwal, Rahul" userId="a3e3dcc2-f091-47be-b937-7067e8d8998e" providerId="ADAL" clId="{AC50A7E9-CB84-4BF0-AD9D-B7BA5EC23CA2}" dt="2021-05-22T10:07:36.450" v="572"/>
          <ac:spMkLst>
            <pc:docMk/>
            <pc:sldMk cId="2925443055" sldId="293"/>
            <ac:spMk id="8" creationId="{5D183257-D8EC-4897-8DBA-2D977034E8EC}"/>
          </ac:spMkLst>
        </pc:spChg>
        <pc:grpChg chg="add mod">
          <ac:chgData name="Khandelwal, Rahul" userId="a3e3dcc2-f091-47be-b937-7067e8d8998e" providerId="ADAL" clId="{AC50A7E9-CB84-4BF0-AD9D-B7BA5EC23CA2}" dt="2021-05-22T10:07:37.668" v="573"/>
          <ac:grpSpMkLst>
            <pc:docMk/>
            <pc:sldMk cId="2925443055" sldId="293"/>
            <ac:grpSpMk id="5" creationId="{83AA4103-90E4-499E-8943-D2826C696A33}"/>
          </ac:grpSpMkLst>
        </pc:grpChg>
        <pc:graphicFrameChg chg="mod">
          <ac:chgData name="Khandelwal, Rahul" userId="a3e3dcc2-f091-47be-b937-7067e8d8998e" providerId="ADAL" clId="{AC50A7E9-CB84-4BF0-AD9D-B7BA5EC23CA2}" dt="2021-05-22T10:09:37.848" v="622" actId="20577"/>
          <ac:graphicFrameMkLst>
            <pc:docMk/>
            <pc:sldMk cId="2925443055" sldId="293"/>
            <ac:graphicFrameMk id="6" creationId="{AE1B750D-E81D-46DD-8DE8-2E1FDACCE79D}"/>
          </ac:graphicFrameMkLst>
        </pc:graphicFrameChg>
        <pc:graphicFrameChg chg="add mod">
          <ac:chgData name="Khandelwal, Rahul" userId="a3e3dcc2-f091-47be-b937-7067e8d8998e" providerId="ADAL" clId="{AC50A7E9-CB84-4BF0-AD9D-B7BA5EC23CA2}" dt="2021-05-22T14:19:41.755" v="1514" actId="478"/>
          <ac:graphicFrameMkLst>
            <pc:docMk/>
            <pc:sldMk cId="2925443055" sldId="293"/>
            <ac:graphicFrameMk id="9" creationId="{BCEE4EDF-47E0-4948-A5C6-AA56E2739804}"/>
          </ac:graphicFrameMkLst>
        </pc:graphicFrameChg>
      </pc:sldChg>
      <pc:sldChg chg="addSp delSp modSp ord">
        <pc:chgData name="Khandelwal, Rahul" userId="a3e3dcc2-f091-47be-b937-7067e8d8998e" providerId="ADAL" clId="{AC50A7E9-CB84-4BF0-AD9D-B7BA5EC23CA2}" dt="2021-05-22T10:11:33.018" v="677" actId="478"/>
        <pc:sldMkLst>
          <pc:docMk/>
          <pc:sldMk cId="2017671847" sldId="297"/>
        </pc:sldMkLst>
        <pc:graphicFrameChg chg="add del mod">
          <ac:chgData name="Khandelwal, Rahul" userId="a3e3dcc2-f091-47be-b937-7067e8d8998e" providerId="ADAL" clId="{AC50A7E9-CB84-4BF0-AD9D-B7BA5EC23CA2}" dt="2021-05-22T10:11:33.018" v="677" actId="478"/>
          <ac:graphicFrameMkLst>
            <pc:docMk/>
            <pc:sldMk cId="2017671847" sldId="297"/>
            <ac:graphicFrameMk id="58" creationId="{97605CBC-7B6A-4A96-9D15-275DBCDABD7E}"/>
          </ac:graphicFrameMkLst>
        </pc:graphicFrameChg>
      </pc:sldChg>
      <pc:sldChg chg="addSp delSp modSp ord">
        <pc:chgData name="Khandelwal, Rahul" userId="a3e3dcc2-f091-47be-b937-7067e8d8998e" providerId="ADAL" clId="{AC50A7E9-CB84-4BF0-AD9D-B7BA5EC23CA2}" dt="2021-05-22T14:14:37.470" v="1476" actId="14734"/>
        <pc:sldMkLst>
          <pc:docMk/>
          <pc:sldMk cId="3440605736" sldId="1048"/>
        </pc:sldMkLst>
        <pc:spChg chg="mod">
          <ac:chgData name="Khandelwal, Rahul" userId="a3e3dcc2-f091-47be-b937-7067e8d8998e" providerId="ADAL" clId="{AC50A7E9-CB84-4BF0-AD9D-B7BA5EC23CA2}" dt="2021-05-22T11:03:25.651" v="1334" actId="20577"/>
          <ac:spMkLst>
            <pc:docMk/>
            <pc:sldMk cId="3440605736" sldId="1048"/>
            <ac:spMk id="2" creationId="{5E9DF378-2BB0-46F8-9CE5-2BB614DEC28E}"/>
          </ac:spMkLst>
        </pc:spChg>
        <pc:spChg chg="mod">
          <ac:chgData name="Khandelwal, Rahul" userId="a3e3dcc2-f091-47be-b937-7067e8d8998e" providerId="ADAL" clId="{AC50A7E9-CB84-4BF0-AD9D-B7BA5EC23CA2}" dt="2021-05-22T11:04:34.444" v="1354" actId="404"/>
          <ac:spMkLst>
            <pc:docMk/>
            <pc:sldMk cId="3440605736" sldId="1048"/>
            <ac:spMk id="3" creationId="{EE8224EB-8B81-4BEB-B1EB-748CD7290948}"/>
          </ac:spMkLst>
        </pc:spChg>
        <pc:spChg chg="add del">
          <ac:chgData name="Khandelwal, Rahul" userId="a3e3dcc2-f091-47be-b937-7067e8d8998e" providerId="ADAL" clId="{AC50A7E9-CB84-4BF0-AD9D-B7BA5EC23CA2}" dt="2021-05-22T14:13:12.683" v="1409"/>
          <ac:spMkLst>
            <pc:docMk/>
            <pc:sldMk cId="3440605736" sldId="1048"/>
            <ac:spMk id="5" creationId="{36428903-C95E-4135-A234-BB617E3327C2}"/>
          </ac:spMkLst>
        </pc:spChg>
        <pc:spChg chg="add del">
          <ac:chgData name="Khandelwal, Rahul" userId="a3e3dcc2-f091-47be-b937-7067e8d8998e" providerId="ADAL" clId="{AC50A7E9-CB84-4BF0-AD9D-B7BA5EC23CA2}" dt="2021-05-22T14:13:12.683" v="1409"/>
          <ac:spMkLst>
            <pc:docMk/>
            <pc:sldMk cId="3440605736" sldId="1048"/>
            <ac:spMk id="7" creationId="{70298448-AC40-487A-8F49-2D13620FD3AD}"/>
          </ac:spMkLst>
        </pc:spChg>
        <pc:spChg chg="add del">
          <ac:chgData name="Khandelwal, Rahul" userId="a3e3dcc2-f091-47be-b937-7067e8d8998e" providerId="ADAL" clId="{AC50A7E9-CB84-4BF0-AD9D-B7BA5EC23CA2}" dt="2021-05-22T14:13:12.683" v="1409"/>
          <ac:spMkLst>
            <pc:docMk/>
            <pc:sldMk cId="3440605736" sldId="1048"/>
            <ac:spMk id="8" creationId="{82F3CEDE-B585-4BF0-BC2B-247547D6C43A}"/>
          </ac:spMkLst>
        </pc:spChg>
        <pc:spChg chg="add del">
          <ac:chgData name="Khandelwal, Rahul" userId="a3e3dcc2-f091-47be-b937-7067e8d8998e" providerId="ADAL" clId="{AC50A7E9-CB84-4BF0-AD9D-B7BA5EC23CA2}" dt="2021-05-22T14:13:12.683" v="1409"/>
          <ac:spMkLst>
            <pc:docMk/>
            <pc:sldMk cId="3440605736" sldId="1048"/>
            <ac:spMk id="9" creationId="{7FEC849B-7B38-4279-A402-CD51775895AB}"/>
          </ac:spMkLst>
        </pc:spChg>
        <pc:spChg chg="add del">
          <ac:chgData name="Khandelwal, Rahul" userId="a3e3dcc2-f091-47be-b937-7067e8d8998e" providerId="ADAL" clId="{AC50A7E9-CB84-4BF0-AD9D-B7BA5EC23CA2}" dt="2021-05-22T14:13:12.683" v="1409"/>
          <ac:spMkLst>
            <pc:docMk/>
            <pc:sldMk cId="3440605736" sldId="1048"/>
            <ac:spMk id="10" creationId="{C27A656D-3963-40D3-849E-4966A47BE531}"/>
          </ac:spMkLst>
        </pc:spChg>
        <pc:spChg chg="add del">
          <ac:chgData name="Khandelwal, Rahul" userId="a3e3dcc2-f091-47be-b937-7067e8d8998e" providerId="ADAL" clId="{AC50A7E9-CB84-4BF0-AD9D-B7BA5EC23CA2}" dt="2021-05-22T14:13:12.683" v="1409"/>
          <ac:spMkLst>
            <pc:docMk/>
            <pc:sldMk cId="3440605736" sldId="1048"/>
            <ac:spMk id="39" creationId="{C3CE7F23-D6FD-4C52-8CC8-C80114650827}"/>
          </ac:spMkLst>
        </pc:spChg>
        <pc:spChg chg="add del">
          <ac:chgData name="Khandelwal, Rahul" userId="a3e3dcc2-f091-47be-b937-7067e8d8998e" providerId="ADAL" clId="{AC50A7E9-CB84-4BF0-AD9D-B7BA5EC23CA2}" dt="2021-05-22T14:13:12.683" v="1409"/>
          <ac:spMkLst>
            <pc:docMk/>
            <pc:sldMk cId="3440605736" sldId="1048"/>
            <ac:spMk id="48" creationId="{7606B037-AD40-4739-9CC7-1952E7C0ACB9}"/>
          </ac:spMkLst>
        </pc:spChg>
        <pc:spChg chg="add del">
          <ac:chgData name="Khandelwal, Rahul" userId="a3e3dcc2-f091-47be-b937-7067e8d8998e" providerId="ADAL" clId="{AC50A7E9-CB84-4BF0-AD9D-B7BA5EC23CA2}" dt="2021-05-22T14:13:12.683" v="1409"/>
          <ac:spMkLst>
            <pc:docMk/>
            <pc:sldMk cId="3440605736" sldId="1048"/>
            <ac:spMk id="49" creationId="{6D184287-E09D-464A-BE3B-85914E264AB4}"/>
          </ac:spMkLst>
        </pc:spChg>
        <pc:spChg chg="add del">
          <ac:chgData name="Khandelwal, Rahul" userId="a3e3dcc2-f091-47be-b937-7067e8d8998e" providerId="ADAL" clId="{AC50A7E9-CB84-4BF0-AD9D-B7BA5EC23CA2}" dt="2021-05-22T14:13:12.683" v="1409"/>
          <ac:spMkLst>
            <pc:docMk/>
            <pc:sldMk cId="3440605736" sldId="1048"/>
            <ac:spMk id="50" creationId="{EC8426CD-1C26-4B11-B882-A3CBD78CB2EE}"/>
          </ac:spMkLst>
        </pc:spChg>
        <pc:spChg chg="add del">
          <ac:chgData name="Khandelwal, Rahul" userId="a3e3dcc2-f091-47be-b937-7067e8d8998e" providerId="ADAL" clId="{AC50A7E9-CB84-4BF0-AD9D-B7BA5EC23CA2}" dt="2021-05-22T14:13:12.683" v="1409"/>
          <ac:spMkLst>
            <pc:docMk/>
            <pc:sldMk cId="3440605736" sldId="1048"/>
            <ac:spMk id="51" creationId="{2CF2872D-411B-4EB3-93A8-26473671C2B9}"/>
          </ac:spMkLst>
        </pc:spChg>
        <pc:spChg chg="add del">
          <ac:chgData name="Khandelwal, Rahul" userId="a3e3dcc2-f091-47be-b937-7067e8d8998e" providerId="ADAL" clId="{AC50A7E9-CB84-4BF0-AD9D-B7BA5EC23CA2}" dt="2021-05-22T14:13:12.683" v="1409"/>
          <ac:spMkLst>
            <pc:docMk/>
            <pc:sldMk cId="3440605736" sldId="1048"/>
            <ac:spMk id="52" creationId="{C14B5A6B-F262-41D4-BA92-E848C7EA8683}"/>
          </ac:spMkLst>
        </pc:spChg>
        <pc:spChg chg="add del">
          <ac:chgData name="Khandelwal, Rahul" userId="a3e3dcc2-f091-47be-b937-7067e8d8998e" providerId="ADAL" clId="{AC50A7E9-CB84-4BF0-AD9D-B7BA5EC23CA2}" dt="2021-05-22T14:13:12.683" v="1409"/>
          <ac:spMkLst>
            <pc:docMk/>
            <pc:sldMk cId="3440605736" sldId="1048"/>
            <ac:spMk id="53" creationId="{E4DD3BA8-F60E-450A-9F06-814CF5CF73BE}"/>
          </ac:spMkLst>
        </pc:spChg>
        <pc:spChg chg="add del">
          <ac:chgData name="Khandelwal, Rahul" userId="a3e3dcc2-f091-47be-b937-7067e8d8998e" providerId="ADAL" clId="{AC50A7E9-CB84-4BF0-AD9D-B7BA5EC23CA2}" dt="2021-05-22T14:13:12.683" v="1409"/>
          <ac:spMkLst>
            <pc:docMk/>
            <pc:sldMk cId="3440605736" sldId="1048"/>
            <ac:spMk id="54" creationId="{07594245-24A5-421A-959A-645BD1FEA82A}"/>
          </ac:spMkLst>
        </pc:spChg>
        <pc:spChg chg="add del">
          <ac:chgData name="Khandelwal, Rahul" userId="a3e3dcc2-f091-47be-b937-7067e8d8998e" providerId="ADAL" clId="{AC50A7E9-CB84-4BF0-AD9D-B7BA5EC23CA2}" dt="2021-05-22T14:13:12.683" v="1409"/>
          <ac:spMkLst>
            <pc:docMk/>
            <pc:sldMk cId="3440605736" sldId="1048"/>
            <ac:spMk id="55" creationId="{0141181C-5E3D-4193-AF8F-1B5C88C247C0}"/>
          </ac:spMkLst>
        </pc:spChg>
        <pc:spChg chg="add del">
          <ac:chgData name="Khandelwal, Rahul" userId="a3e3dcc2-f091-47be-b937-7067e8d8998e" providerId="ADAL" clId="{AC50A7E9-CB84-4BF0-AD9D-B7BA5EC23CA2}" dt="2021-05-22T14:13:12.683" v="1409"/>
          <ac:spMkLst>
            <pc:docMk/>
            <pc:sldMk cId="3440605736" sldId="1048"/>
            <ac:spMk id="56" creationId="{04B48167-7E02-4AEE-B20C-98E079C77697}"/>
          </ac:spMkLst>
        </pc:spChg>
        <pc:spChg chg="add del">
          <ac:chgData name="Khandelwal, Rahul" userId="a3e3dcc2-f091-47be-b937-7067e8d8998e" providerId="ADAL" clId="{AC50A7E9-CB84-4BF0-AD9D-B7BA5EC23CA2}" dt="2021-05-22T14:13:12.683" v="1409"/>
          <ac:spMkLst>
            <pc:docMk/>
            <pc:sldMk cId="3440605736" sldId="1048"/>
            <ac:spMk id="99" creationId="{85529D89-DA5E-469B-8A7B-EDDFDF6E3A7E}"/>
          </ac:spMkLst>
        </pc:spChg>
        <pc:grpChg chg="add del">
          <ac:chgData name="Khandelwal, Rahul" userId="a3e3dcc2-f091-47be-b937-7067e8d8998e" providerId="ADAL" clId="{AC50A7E9-CB84-4BF0-AD9D-B7BA5EC23CA2}" dt="2021-05-22T14:13:12.683" v="1409"/>
          <ac:grpSpMkLst>
            <pc:docMk/>
            <pc:sldMk cId="3440605736" sldId="1048"/>
            <ac:grpSpMk id="22" creationId="{2B6B10D1-4E69-468E-A62B-2BFA140AE41F}"/>
          </ac:grpSpMkLst>
        </pc:grpChg>
        <pc:grpChg chg="add del">
          <ac:chgData name="Khandelwal, Rahul" userId="a3e3dcc2-f091-47be-b937-7067e8d8998e" providerId="ADAL" clId="{AC50A7E9-CB84-4BF0-AD9D-B7BA5EC23CA2}" dt="2021-05-22T14:13:12.683" v="1409"/>
          <ac:grpSpMkLst>
            <pc:docMk/>
            <pc:sldMk cId="3440605736" sldId="1048"/>
            <ac:grpSpMk id="57" creationId="{11E371B6-0EDD-4C5A-9E4B-786B62FC588A}"/>
          </ac:grpSpMkLst>
        </pc:grpChg>
        <pc:graphicFrameChg chg="mod modGraphic">
          <ac:chgData name="Khandelwal, Rahul" userId="a3e3dcc2-f091-47be-b937-7067e8d8998e" providerId="ADAL" clId="{AC50A7E9-CB84-4BF0-AD9D-B7BA5EC23CA2}" dt="2021-05-22T14:14:37.470" v="1476" actId="14734"/>
          <ac:graphicFrameMkLst>
            <pc:docMk/>
            <pc:sldMk cId="3440605736" sldId="1048"/>
            <ac:graphicFrameMk id="6" creationId="{08AAB50B-73FA-4BB2-BC4C-82295B610004}"/>
          </ac:graphicFrameMkLst>
        </pc:graphicFrameChg>
        <pc:picChg chg="add del">
          <ac:chgData name="Khandelwal, Rahul" userId="a3e3dcc2-f091-47be-b937-7067e8d8998e" providerId="ADAL" clId="{AC50A7E9-CB84-4BF0-AD9D-B7BA5EC23CA2}" dt="2021-05-22T14:13:12.683" v="1409"/>
          <ac:picMkLst>
            <pc:docMk/>
            <pc:sldMk cId="3440605736" sldId="1048"/>
            <ac:picMk id="11" creationId="{F0158A11-8532-407B-AE9A-98EB55B8E1EE}"/>
          </ac:picMkLst>
        </pc:picChg>
        <pc:picChg chg="add del">
          <ac:chgData name="Khandelwal, Rahul" userId="a3e3dcc2-f091-47be-b937-7067e8d8998e" providerId="ADAL" clId="{AC50A7E9-CB84-4BF0-AD9D-B7BA5EC23CA2}" dt="2021-05-22T14:13:12.683" v="1409"/>
          <ac:picMkLst>
            <pc:docMk/>
            <pc:sldMk cId="3440605736" sldId="1048"/>
            <ac:picMk id="12" creationId="{14C40314-D0E5-4667-8058-C26EDAF321AB}"/>
          </ac:picMkLst>
        </pc:picChg>
        <pc:picChg chg="add del">
          <ac:chgData name="Khandelwal, Rahul" userId="a3e3dcc2-f091-47be-b937-7067e8d8998e" providerId="ADAL" clId="{AC50A7E9-CB84-4BF0-AD9D-B7BA5EC23CA2}" dt="2021-05-22T14:13:12.683" v="1409"/>
          <ac:picMkLst>
            <pc:docMk/>
            <pc:sldMk cId="3440605736" sldId="1048"/>
            <ac:picMk id="13" creationId="{DE9CB012-0F53-41B9-9F81-0A95C05188FE}"/>
          </ac:picMkLst>
        </pc:picChg>
        <pc:picChg chg="add del">
          <ac:chgData name="Khandelwal, Rahul" userId="a3e3dcc2-f091-47be-b937-7067e8d8998e" providerId="ADAL" clId="{AC50A7E9-CB84-4BF0-AD9D-B7BA5EC23CA2}" dt="2021-05-22T14:13:12.683" v="1409"/>
          <ac:picMkLst>
            <pc:docMk/>
            <pc:sldMk cId="3440605736" sldId="1048"/>
            <ac:picMk id="14" creationId="{6DA8C24D-A2D6-495F-94B6-93D87A732874}"/>
          </ac:picMkLst>
        </pc:picChg>
        <pc:picChg chg="add del">
          <ac:chgData name="Khandelwal, Rahul" userId="a3e3dcc2-f091-47be-b937-7067e8d8998e" providerId="ADAL" clId="{AC50A7E9-CB84-4BF0-AD9D-B7BA5EC23CA2}" dt="2021-05-22T14:13:12.683" v="1409"/>
          <ac:picMkLst>
            <pc:docMk/>
            <pc:sldMk cId="3440605736" sldId="1048"/>
            <ac:picMk id="15" creationId="{23E23A67-93BB-45DA-876A-EC63A8AA5EA6}"/>
          </ac:picMkLst>
        </pc:picChg>
        <pc:picChg chg="add del">
          <ac:chgData name="Khandelwal, Rahul" userId="a3e3dcc2-f091-47be-b937-7067e8d8998e" providerId="ADAL" clId="{AC50A7E9-CB84-4BF0-AD9D-B7BA5EC23CA2}" dt="2021-05-22T14:13:12.683" v="1409"/>
          <ac:picMkLst>
            <pc:docMk/>
            <pc:sldMk cId="3440605736" sldId="1048"/>
            <ac:picMk id="16" creationId="{A8CC7BE9-1C76-42D6-BFAB-49D7EA302FFE}"/>
          </ac:picMkLst>
        </pc:picChg>
        <pc:picChg chg="add del">
          <ac:chgData name="Khandelwal, Rahul" userId="a3e3dcc2-f091-47be-b937-7067e8d8998e" providerId="ADAL" clId="{AC50A7E9-CB84-4BF0-AD9D-B7BA5EC23CA2}" dt="2021-05-22T14:13:12.683" v="1409"/>
          <ac:picMkLst>
            <pc:docMk/>
            <pc:sldMk cId="3440605736" sldId="1048"/>
            <ac:picMk id="17" creationId="{7A21603B-7AEA-41B9-AFBF-0B181ECBD3F7}"/>
          </ac:picMkLst>
        </pc:picChg>
        <pc:picChg chg="add del">
          <ac:chgData name="Khandelwal, Rahul" userId="a3e3dcc2-f091-47be-b937-7067e8d8998e" providerId="ADAL" clId="{AC50A7E9-CB84-4BF0-AD9D-B7BA5EC23CA2}" dt="2021-05-22T14:13:12.683" v="1409"/>
          <ac:picMkLst>
            <pc:docMk/>
            <pc:sldMk cId="3440605736" sldId="1048"/>
            <ac:picMk id="18" creationId="{2FA49DA3-ABBA-4708-A6E6-8E5F61B3CC84}"/>
          </ac:picMkLst>
        </pc:picChg>
        <pc:picChg chg="add del">
          <ac:chgData name="Khandelwal, Rahul" userId="a3e3dcc2-f091-47be-b937-7067e8d8998e" providerId="ADAL" clId="{AC50A7E9-CB84-4BF0-AD9D-B7BA5EC23CA2}" dt="2021-05-22T14:13:12.683" v="1409"/>
          <ac:picMkLst>
            <pc:docMk/>
            <pc:sldMk cId="3440605736" sldId="1048"/>
            <ac:picMk id="19" creationId="{84482F67-A89D-467B-80E1-8A82B357ABD2}"/>
          </ac:picMkLst>
        </pc:picChg>
        <pc:picChg chg="add del">
          <ac:chgData name="Khandelwal, Rahul" userId="a3e3dcc2-f091-47be-b937-7067e8d8998e" providerId="ADAL" clId="{AC50A7E9-CB84-4BF0-AD9D-B7BA5EC23CA2}" dt="2021-05-22T14:13:12.683" v="1409"/>
          <ac:picMkLst>
            <pc:docMk/>
            <pc:sldMk cId="3440605736" sldId="1048"/>
            <ac:picMk id="20" creationId="{EED264FF-8E06-4871-8366-6D299B2DB5AE}"/>
          </ac:picMkLst>
        </pc:picChg>
        <pc:picChg chg="add del">
          <ac:chgData name="Khandelwal, Rahul" userId="a3e3dcc2-f091-47be-b937-7067e8d8998e" providerId="ADAL" clId="{AC50A7E9-CB84-4BF0-AD9D-B7BA5EC23CA2}" dt="2021-05-22T14:13:12.683" v="1409"/>
          <ac:picMkLst>
            <pc:docMk/>
            <pc:sldMk cId="3440605736" sldId="1048"/>
            <ac:picMk id="21" creationId="{260C1526-1C71-477C-B7EA-D6FED4CADE76}"/>
          </ac:picMkLst>
        </pc:picChg>
        <pc:picChg chg="add del">
          <ac:chgData name="Khandelwal, Rahul" userId="a3e3dcc2-f091-47be-b937-7067e8d8998e" providerId="ADAL" clId="{AC50A7E9-CB84-4BF0-AD9D-B7BA5EC23CA2}" dt="2021-05-22T14:13:12.683" v="1409"/>
          <ac:picMkLst>
            <pc:docMk/>
            <pc:sldMk cId="3440605736" sldId="1048"/>
            <ac:picMk id="37" creationId="{928FB962-FE79-464B-B6DF-6842E614BE55}"/>
          </ac:picMkLst>
        </pc:picChg>
        <pc:picChg chg="add del">
          <ac:chgData name="Khandelwal, Rahul" userId="a3e3dcc2-f091-47be-b937-7067e8d8998e" providerId="ADAL" clId="{AC50A7E9-CB84-4BF0-AD9D-B7BA5EC23CA2}" dt="2021-05-22T14:13:12.683" v="1409"/>
          <ac:picMkLst>
            <pc:docMk/>
            <pc:sldMk cId="3440605736" sldId="1048"/>
            <ac:picMk id="38" creationId="{F05129D1-BB28-474B-AB13-F01F10046CC8}"/>
          </ac:picMkLst>
        </pc:picChg>
        <pc:picChg chg="add del">
          <ac:chgData name="Khandelwal, Rahul" userId="a3e3dcc2-f091-47be-b937-7067e8d8998e" providerId="ADAL" clId="{AC50A7E9-CB84-4BF0-AD9D-B7BA5EC23CA2}" dt="2021-05-22T14:13:12.683" v="1409"/>
          <ac:picMkLst>
            <pc:docMk/>
            <pc:sldMk cId="3440605736" sldId="1048"/>
            <ac:picMk id="40" creationId="{706137EA-4B27-47D4-87D8-D11C7CF2BFA7}"/>
          </ac:picMkLst>
        </pc:picChg>
        <pc:picChg chg="add del">
          <ac:chgData name="Khandelwal, Rahul" userId="a3e3dcc2-f091-47be-b937-7067e8d8998e" providerId="ADAL" clId="{AC50A7E9-CB84-4BF0-AD9D-B7BA5EC23CA2}" dt="2021-05-22T14:13:12.683" v="1409"/>
          <ac:picMkLst>
            <pc:docMk/>
            <pc:sldMk cId="3440605736" sldId="1048"/>
            <ac:picMk id="41" creationId="{70A4F0C0-1185-4DCB-AB25-44479B547B83}"/>
          </ac:picMkLst>
        </pc:picChg>
        <pc:picChg chg="add del">
          <ac:chgData name="Khandelwal, Rahul" userId="a3e3dcc2-f091-47be-b937-7067e8d8998e" providerId="ADAL" clId="{AC50A7E9-CB84-4BF0-AD9D-B7BA5EC23CA2}" dt="2021-05-22T14:13:12.683" v="1409"/>
          <ac:picMkLst>
            <pc:docMk/>
            <pc:sldMk cId="3440605736" sldId="1048"/>
            <ac:picMk id="42" creationId="{F418327A-8AAD-4FCC-B7D0-FCAB0DE31994}"/>
          </ac:picMkLst>
        </pc:picChg>
        <pc:picChg chg="add del">
          <ac:chgData name="Khandelwal, Rahul" userId="a3e3dcc2-f091-47be-b937-7067e8d8998e" providerId="ADAL" clId="{AC50A7E9-CB84-4BF0-AD9D-B7BA5EC23CA2}" dt="2021-05-22T14:13:12.683" v="1409"/>
          <ac:picMkLst>
            <pc:docMk/>
            <pc:sldMk cId="3440605736" sldId="1048"/>
            <ac:picMk id="43" creationId="{9EC83614-2910-448D-9D4F-D9FF1ADAF718}"/>
          </ac:picMkLst>
        </pc:picChg>
        <pc:picChg chg="add del">
          <ac:chgData name="Khandelwal, Rahul" userId="a3e3dcc2-f091-47be-b937-7067e8d8998e" providerId="ADAL" clId="{AC50A7E9-CB84-4BF0-AD9D-B7BA5EC23CA2}" dt="2021-05-22T14:13:12.683" v="1409"/>
          <ac:picMkLst>
            <pc:docMk/>
            <pc:sldMk cId="3440605736" sldId="1048"/>
            <ac:picMk id="44" creationId="{5A9D9ABA-5A30-4A28-90EC-F611E2720F9B}"/>
          </ac:picMkLst>
        </pc:picChg>
        <pc:picChg chg="add del">
          <ac:chgData name="Khandelwal, Rahul" userId="a3e3dcc2-f091-47be-b937-7067e8d8998e" providerId="ADAL" clId="{AC50A7E9-CB84-4BF0-AD9D-B7BA5EC23CA2}" dt="2021-05-22T14:13:12.683" v="1409"/>
          <ac:picMkLst>
            <pc:docMk/>
            <pc:sldMk cId="3440605736" sldId="1048"/>
            <ac:picMk id="45" creationId="{CD6B8D9E-899D-4235-8285-40A548BB55E4}"/>
          </ac:picMkLst>
        </pc:picChg>
        <pc:picChg chg="add del">
          <ac:chgData name="Khandelwal, Rahul" userId="a3e3dcc2-f091-47be-b937-7067e8d8998e" providerId="ADAL" clId="{AC50A7E9-CB84-4BF0-AD9D-B7BA5EC23CA2}" dt="2021-05-22T14:13:12.683" v="1409"/>
          <ac:picMkLst>
            <pc:docMk/>
            <pc:sldMk cId="3440605736" sldId="1048"/>
            <ac:picMk id="46" creationId="{38166E30-C36D-4793-B14C-405B600E20F6}"/>
          </ac:picMkLst>
        </pc:picChg>
        <pc:picChg chg="add del">
          <ac:chgData name="Khandelwal, Rahul" userId="a3e3dcc2-f091-47be-b937-7067e8d8998e" providerId="ADAL" clId="{AC50A7E9-CB84-4BF0-AD9D-B7BA5EC23CA2}" dt="2021-05-22T14:13:12.683" v="1409"/>
          <ac:picMkLst>
            <pc:docMk/>
            <pc:sldMk cId="3440605736" sldId="1048"/>
            <ac:picMk id="47" creationId="{28A22E7E-0F59-4F94-BADD-689AFAAE4344}"/>
          </ac:picMkLst>
        </pc:picChg>
        <pc:picChg chg="add del">
          <ac:chgData name="Khandelwal, Rahul" userId="a3e3dcc2-f091-47be-b937-7067e8d8998e" providerId="ADAL" clId="{AC50A7E9-CB84-4BF0-AD9D-B7BA5EC23CA2}" dt="2021-05-22T14:13:12.683" v="1409"/>
          <ac:picMkLst>
            <pc:docMk/>
            <pc:sldMk cId="3440605736" sldId="1048"/>
            <ac:picMk id="107" creationId="{1900F1D5-0E82-496B-98D1-48F380897396}"/>
          </ac:picMkLst>
        </pc:picChg>
        <pc:cxnChg chg="add del">
          <ac:chgData name="Khandelwal, Rahul" userId="a3e3dcc2-f091-47be-b937-7067e8d8998e" providerId="ADAL" clId="{AC50A7E9-CB84-4BF0-AD9D-B7BA5EC23CA2}" dt="2021-05-22T14:13:12.683" v="1409"/>
          <ac:cxnSpMkLst>
            <pc:docMk/>
            <pc:sldMk cId="3440605736" sldId="1048"/>
            <ac:cxnSpMk id="100" creationId="{B8EEB9EB-302A-4606-BECB-8F53C5E1C097}"/>
          </ac:cxnSpMkLst>
        </pc:cxnChg>
        <pc:cxnChg chg="add del">
          <ac:chgData name="Khandelwal, Rahul" userId="a3e3dcc2-f091-47be-b937-7067e8d8998e" providerId="ADAL" clId="{AC50A7E9-CB84-4BF0-AD9D-B7BA5EC23CA2}" dt="2021-05-22T14:13:12.683" v="1409"/>
          <ac:cxnSpMkLst>
            <pc:docMk/>
            <pc:sldMk cId="3440605736" sldId="1048"/>
            <ac:cxnSpMk id="101" creationId="{CFCBB008-FD50-4063-BD5B-D5F88CB52697}"/>
          </ac:cxnSpMkLst>
        </pc:cxnChg>
        <pc:cxnChg chg="add del">
          <ac:chgData name="Khandelwal, Rahul" userId="a3e3dcc2-f091-47be-b937-7067e8d8998e" providerId="ADAL" clId="{AC50A7E9-CB84-4BF0-AD9D-B7BA5EC23CA2}" dt="2021-05-22T14:13:12.683" v="1409"/>
          <ac:cxnSpMkLst>
            <pc:docMk/>
            <pc:sldMk cId="3440605736" sldId="1048"/>
            <ac:cxnSpMk id="102" creationId="{8829D591-F8CF-4D27-A9A3-FB1DDA6099CA}"/>
          </ac:cxnSpMkLst>
        </pc:cxnChg>
        <pc:cxnChg chg="add del">
          <ac:chgData name="Khandelwal, Rahul" userId="a3e3dcc2-f091-47be-b937-7067e8d8998e" providerId="ADAL" clId="{AC50A7E9-CB84-4BF0-AD9D-B7BA5EC23CA2}" dt="2021-05-22T14:13:12.683" v="1409"/>
          <ac:cxnSpMkLst>
            <pc:docMk/>
            <pc:sldMk cId="3440605736" sldId="1048"/>
            <ac:cxnSpMk id="103" creationId="{2F5A7BC9-87FD-4542-8928-F100DBCA282A}"/>
          </ac:cxnSpMkLst>
        </pc:cxnChg>
        <pc:cxnChg chg="add del">
          <ac:chgData name="Khandelwal, Rahul" userId="a3e3dcc2-f091-47be-b937-7067e8d8998e" providerId="ADAL" clId="{AC50A7E9-CB84-4BF0-AD9D-B7BA5EC23CA2}" dt="2021-05-22T14:13:12.683" v="1409"/>
          <ac:cxnSpMkLst>
            <pc:docMk/>
            <pc:sldMk cId="3440605736" sldId="1048"/>
            <ac:cxnSpMk id="104" creationId="{AEFEFE1D-15A5-45AF-BA98-77CEB0CBD878}"/>
          </ac:cxnSpMkLst>
        </pc:cxnChg>
        <pc:cxnChg chg="add del">
          <ac:chgData name="Khandelwal, Rahul" userId="a3e3dcc2-f091-47be-b937-7067e8d8998e" providerId="ADAL" clId="{AC50A7E9-CB84-4BF0-AD9D-B7BA5EC23CA2}" dt="2021-05-22T14:13:12.683" v="1409"/>
          <ac:cxnSpMkLst>
            <pc:docMk/>
            <pc:sldMk cId="3440605736" sldId="1048"/>
            <ac:cxnSpMk id="105" creationId="{B9833671-85AC-4915-B2A9-CC0EE499A2E0}"/>
          </ac:cxnSpMkLst>
        </pc:cxnChg>
        <pc:cxnChg chg="add del">
          <ac:chgData name="Khandelwal, Rahul" userId="a3e3dcc2-f091-47be-b937-7067e8d8998e" providerId="ADAL" clId="{AC50A7E9-CB84-4BF0-AD9D-B7BA5EC23CA2}" dt="2021-05-22T14:13:12.683" v="1409"/>
          <ac:cxnSpMkLst>
            <pc:docMk/>
            <pc:sldMk cId="3440605736" sldId="1048"/>
            <ac:cxnSpMk id="106" creationId="{12C2E9BC-CCA1-4BE9-9025-2A643929A9CC}"/>
          </ac:cxnSpMkLst>
        </pc:cxnChg>
      </pc:sldChg>
      <pc:sldChg chg="addSp delSp modSp add">
        <pc:chgData name="Khandelwal, Rahul" userId="a3e3dcc2-f091-47be-b937-7067e8d8998e" providerId="ADAL" clId="{AC50A7E9-CB84-4BF0-AD9D-B7BA5EC23CA2}" dt="2021-05-24T06:03:42.373" v="2300" actId="1038"/>
        <pc:sldMkLst>
          <pc:docMk/>
          <pc:sldMk cId="203152348" sldId="1049"/>
        </pc:sldMkLst>
        <pc:spChg chg="add mod">
          <ac:chgData name="Khandelwal, Rahul" userId="a3e3dcc2-f091-47be-b937-7067e8d8998e" providerId="ADAL" clId="{AC50A7E9-CB84-4BF0-AD9D-B7BA5EC23CA2}" dt="2021-05-22T11:09:24.847" v="1364" actId="1076"/>
          <ac:spMkLst>
            <pc:docMk/>
            <pc:sldMk cId="203152348" sldId="1049"/>
            <ac:spMk id="5" creationId="{4E726CED-1BAF-414A-893B-4626E9B6F2B4}"/>
          </ac:spMkLst>
        </pc:spChg>
        <pc:spChg chg="add mod">
          <ac:chgData name="Khandelwal, Rahul" userId="a3e3dcc2-f091-47be-b937-7067e8d8998e" providerId="ADAL" clId="{AC50A7E9-CB84-4BF0-AD9D-B7BA5EC23CA2}" dt="2021-05-22T11:09:20.251" v="1363" actId="1076"/>
          <ac:spMkLst>
            <pc:docMk/>
            <pc:sldMk cId="203152348" sldId="1049"/>
            <ac:spMk id="6" creationId="{1616387D-79C4-4D2C-8F4C-617036B1459A}"/>
          </ac:spMkLst>
        </pc:spChg>
        <pc:spChg chg="mod">
          <ac:chgData name="Khandelwal, Rahul" userId="a3e3dcc2-f091-47be-b937-7067e8d8998e" providerId="ADAL" clId="{AC50A7E9-CB84-4BF0-AD9D-B7BA5EC23CA2}" dt="2021-05-24T06:03:42.373" v="2300" actId="1038"/>
          <ac:spMkLst>
            <pc:docMk/>
            <pc:sldMk cId="203152348" sldId="1049"/>
            <ac:spMk id="7175" creationId="{BADEA8C0-D1A3-4608-9E63-683339DCC944}"/>
          </ac:spMkLst>
        </pc:spChg>
        <pc:spChg chg="del mod">
          <ac:chgData name="Khandelwal, Rahul" userId="a3e3dcc2-f091-47be-b937-7067e8d8998e" providerId="ADAL" clId="{AC50A7E9-CB84-4BF0-AD9D-B7BA5EC23CA2}" dt="2021-05-22T10:58:55.493" v="1243" actId="478"/>
          <ac:spMkLst>
            <pc:docMk/>
            <pc:sldMk cId="203152348" sldId="1049"/>
            <ac:spMk id="7176" creationId="{943087BE-AA11-4C96-BA02-329B45C19DDE}"/>
          </ac:spMkLst>
        </pc:spChg>
        <pc:spChg chg="mod">
          <ac:chgData name="Khandelwal, Rahul" userId="a3e3dcc2-f091-47be-b937-7067e8d8998e" providerId="ADAL" clId="{AC50A7E9-CB84-4BF0-AD9D-B7BA5EC23CA2}" dt="2021-05-24T05:32:37.183" v="2286" actId="1076"/>
          <ac:spMkLst>
            <pc:docMk/>
            <pc:sldMk cId="203152348" sldId="1049"/>
            <ac:spMk id="7180" creationId="{273FF0AF-5E94-435C-8A2A-7A7CA0FE36A6}"/>
          </ac:spMkLst>
        </pc:spChg>
        <pc:graphicFrameChg chg="add mod modGraphic">
          <ac:chgData name="Khandelwal, Rahul" userId="a3e3dcc2-f091-47be-b937-7067e8d8998e" providerId="ADAL" clId="{AC50A7E9-CB84-4BF0-AD9D-B7BA5EC23CA2}" dt="2021-05-22T14:07:04.885" v="1392" actId="1038"/>
          <ac:graphicFrameMkLst>
            <pc:docMk/>
            <pc:sldMk cId="203152348" sldId="1049"/>
            <ac:graphicFrameMk id="2" creationId="{B8B0DC3D-A319-4B78-A461-3FAC5C106C85}"/>
          </ac:graphicFrameMkLst>
        </pc:graphicFrameChg>
        <pc:picChg chg="mod">
          <ac:chgData name="Khandelwal, Rahul" userId="a3e3dcc2-f091-47be-b937-7067e8d8998e" providerId="ADAL" clId="{AC50A7E9-CB84-4BF0-AD9D-B7BA5EC23CA2}" dt="2021-05-24T05:50:44.594" v="2289" actId="14100"/>
          <ac:picMkLst>
            <pc:docMk/>
            <pc:sldMk cId="203152348" sldId="1049"/>
            <ac:picMk id="3" creationId="{88A863AC-00F4-4515-A946-F381545BD0F9}"/>
          </ac:picMkLst>
        </pc:picChg>
        <pc:picChg chg="mod">
          <ac:chgData name="Khandelwal, Rahul" userId="a3e3dcc2-f091-47be-b937-7067e8d8998e" providerId="ADAL" clId="{AC50A7E9-CB84-4BF0-AD9D-B7BA5EC23CA2}" dt="2021-05-24T05:32:37.183" v="2286" actId="1076"/>
          <ac:picMkLst>
            <pc:docMk/>
            <pc:sldMk cId="203152348" sldId="1049"/>
            <ac:picMk id="7179" creationId="{12618B16-99B6-4F89-A145-C5939A93831F}"/>
          </ac:picMkLst>
        </pc:picChg>
        <pc:picChg chg="mod">
          <ac:chgData name="Khandelwal, Rahul" userId="a3e3dcc2-f091-47be-b937-7067e8d8998e" providerId="ADAL" clId="{AC50A7E9-CB84-4BF0-AD9D-B7BA5EC23CA2}" dt="2021-05-24T05:32:37.183" v="2286" actId="1076"/>
          <ac:picMkLst>
            <pc:docMk/>
            <pc:sldMk cId="203152348" sldId="1049"/>
            <ac:picMk id="7181" creationId="{568E79A1-196A-4599-9F1F-AD39B99F1222}"/>
          </ac:picMkLst>
        </pc:picChg>
        <pc:picChg chg="mod">
          <ac:chgData name="Khandelwal, Rahul" userId="a3e3dcc2-f091-47be-b937-7067e8d8998e" providerId="ADAL" clId="{AC50A7E9-CB84-4BF0-AD9D-B7BA5EC23CA2}" dt="2021-05-22T10:25:05.124" v="712" actId="1076"/>
          <ac:picMkLst>
            <pc:docMk/>
            <pc:sldMk cId="203152348" sldId="1049"/>
            <ac:picMk id="7182" creationId="{89622B52-B834-40D0-9BA5-24EF14F2A61E}"/>
          </ac:picMkLst>
        </pc:picChg>
      </pc:sldChg>
      <pc:sldChg chg="addSp delSp modSp add">
        <pc:chgData name="Khandelwal, Rahul" userId="a3e3dcc2-f091-47be-b937-7067e8d8998e" providerId="ADAL" clId="{AC50A7E9-CB84-4BF0-AD9D-B7BA5EC23CA2}" dt="2021-05-22T14:14:21.706" v="1475" actId="20577"/>
        <pc:sldMkLst>
          <pc:docMk/>
          <pc:sldMk cId="3588828647" sldId="1050"/>
        </pc:sldMkLst>
        <pc:spChg chg="mod">
          <ac:chgData name="Khandelwal, Rahul" userId="a3e3dcc2-f091-47be-b937-7067e8d8998e" providerId="ADAL" clId="{AC50A7E9-CB84-4BF0-AD9D-B7BA5EC23CA2}" dt="2021-05-22T14:14:21.706" v="1475" actId="20577"/>
          <ac:spMkLst>
            <pc:docMk/>
            <pc:sldMk cId="3588828647" sldId="1050"/>
            <ac:spMk id="2" creationId="{1D37F1FA-3AB3-435C-9E41-8BEB587CEA61}"/>
          </ac:spMkLst>
        </pc:spChg>
        <pc:spChg chg="add">
          <ac:chgData name="Khandelwal, Rahul" userId="a3e3dcc2-f091-47be-b937-7067e8d8998e" providerId="ADAL" clId="{AC50A7E9-CB84-4BF0-AD9D-B7BA5EC23CA2}" dt="2021-05-22T14:13:14.887" v="1411"/>
          <ac:spMkLst>
            <pc:docMk/>
            <pc:sldMk cId="3588828647" sldId="1050"/>
            <ac:spMk id="3" creationId="{584D2866-EA4C-4F80-8863-9D90A40D1D11}"/>
          </ac:spMkLst>
        </pc:spChg>
        <pc:spChg chg="add del">
          <ac:chgData name="Khandelwal, Rahul" userId="a3e3dcc2-f091-47be-b937-7067e8d8998e" providerId="ADAL" clId="{AC50A7E9-CB84-4BF0-AD9D-B7BA5EC23CA2}" dt="2021-05-22T14:13:19.619" v="1412" actId="478"/>
          <ac:spMkLst>
            <pc:docMk/>
            <pc:sldMk cId="3588828647" sldId="1050"/>
            <ac:spMk id="4" creationId="{66E5282B-00A7-4B66-B1F8-59BB72DB5938}"/>
          </ac:spMkLst>
        </pc:spChg>
        <pc:spChg chg="add">
          <ac:chgData name="Khandelwal, Rahul" userId="a3e3dcc2-f091-47be-b937-7067e8d8998e" providerId="ADAL" clId="{AC50A7E9-CB84-4BF0-AD9D-B7BA5EC23CA2}" dt="2021-05-22T14:13:14.887" v="1411"/>
          <ac:spMkLst>
            <pc:docMk/>
            <pc:sldMk cId="3588828647" sldId="1050"/>
            <ac:spMk id="5" creationId="{C0DDF913-2922-4202-9114-0C0BAA2CAD87}"/>
          </ac:spMkLst>
        </pc:spChg>
        <pc:spChg chg="add">
          <ac:chgData name="Khandelwal, Rahul" userId="a3e3dcc2-f091-47be-b937-7067e8d8998e" providerId="ADAL" clId="{AC50A7E9-CB84-4BF0-AD9D-B7BA5EC23CA2}" dt="2021-05-22T14:13:14.887" v="1411"/>
          <ac:spMkLst>
            <pc:docMk/>
            <pc:sldMk cId="3588828647" sldId="1050"/>
            <ac:spMk id="6" creationId="{58C67F7E-A8D3-49AF-AC3D-88FD3DC5409B}"/>
          </ac:spMkLst>
        </pc:spChg>
        <pc:spChg chg="add">
          <ac:chgData name="Khandelwal, Rahul" userId="a3e3dcc2-f091-47be-b937-7067e8d8998e" providerId="ADAL" clId="{AC50A7E9-CB84-4BF0-AD9D-B7BA5EC23CA2}" dt="2021-05-22T14:13:14.887" v="1411"/>
          <ac:spMkLst>
            <pc:docMk/>
            <pc:sldMk cId="3588828647" sldId="1050"/>
            <ac:spMk id="7" creationId="{13F5487B-7219-4917-BC2E-B85422CAC21A}"/>
          </ac:spMkLst>
        </pc:spChg>
        <pc:spChg chg="add">
          <ac:chgData name="Khandelwal, Rahul" userId="a3e3dcc2-f091-47be-b937-7067e8d8998e" providerId="ADAL" clId="{AC50A7E9-CB84-4BF0-AD9D-B7BA5EC23CA2}" dt="2021-05-22T14:13:14.887" v="1411"/>
          <ac:spMkLst>
            <pc:docMk/>
            <pc:sldMk cId="3588828647" sldId="1050"/>
            <ac:spMk id="36" creationId="{0CE194EB-10B7-46B1-B0C8-3D9BBF44EFE1}"/>
          </ac:spMkLst>
        </pc:spChg>
        <pc:spChg chg="add">
          <ac:chgData name="Khandelwal, Rahul" userId="a3e3dcc2-f091-47be-b937-7067e8d8998e" providerId="ADAL" clId="{AC50A7E9-CB84-4BF0-AD9D-B7BA5EC23CA2}" dt="2021-05-22T14:13:14.887" v="1411"/>
          <ac:spMkLst>
            <pc:docMk/>
            <pc:sldMk cId="3588828647" sldId="1050"/>
            <ac:spMk id="45" creationId="{23C41FEB-E27D-4CC7-998E-128AFEB0A705}"/>
          </ac:spMkLst>
        </pc:spChg>
        <pc:spChg chg="add">
          <ac:chgData name="Khandelwal, Rahul" userId="a3e3dcc2-f091-47be-b937-7067e8d8998e" providerId="ADAL" clId="{AC50A7E9-CB84-4BF0-AD9D-B7BA5EC23CA2}" dt="2021-05-22T14:13:14.887" v="1411"/>
          <ac:spMkLst>
            <pc:docMk/>
            <pc:sldMk cId="3588828647" sldId="1050"/>
            <ac:spMk id="46" creationId="{09302894-05C8-4694-A4E4-57FE0D74A999}"/>
          </ac:spMkLst>
        </pc:spChg>
        <pc:spChg chg="add">
          <ac:chgData name="Khandelwal, Rahul" userId="a3e3dcc2-f091-47be-b937-7067e8d8998e" providerId="ADAL" clId="{AC50A7E9-CB84-4BF0-AD9D-B7BA5EC23CA2}" dt="2021-05-22T14:13:14.887" v="1411"/>
          <ac:spMkLst>
            <pc:docMk/>
            <pc:sldMk cId="3588828647" sldId="1050"/>
            <ac:spMk id="47" creationId="{986D999D-831A-4FE6-B161-72F3B77A10DC}"/>
          </ac:spMkLst>
        </pc:spChg>
        <pc:spChg chg="add">
          <ac:chgData name="Khandelwal, Rahul" userId="a3e3dcc2-f091-47be-b937-7067e8d8998e" providerId="ADAL" clId="{AC50A7E9-CB84-4BF0-AD9D-B7BA5EC23CA2}" dt="2021-05-22T14:13:14.887" v="1411"/>
          <ac:spMkLst>
            <pc:docMk/>
            <pc:sldMk cId="3588828647" sldId="1050"/>
            <ac:spMk id="48" creationId="{CEBD76E0-B486-440A-B60D-DA3DA9869358}"/>
          </ac:spMkLst>
        </pc:spChg>
        <pc:spChg chg="add">
          <ac:chgData name="Khandelwal, Rahul" userId="a3e3dcc2-f091-47be-b937-7067e8d8998e" providerId="ADAL" clId="{AC50A7E9-CB84-4BF0-AD9D-B7BA5EC23CA2}" dt="2021-05-22T14:13:14.887" v="1411"/>
          <ac:spMkLst>
            <pc:docMk/>
            <pc:sldMk cId="3588828647" sldId="1050"/>
            <ac:spMk id="49" creationId="{BDF5B142-5C95-450F-85B5-0386449781F3}"/>
          </ac:spMkLst>
        </pc:spChg>
        <pc:spChg chg="add">
          <ac:chgData name="Khandelwal, Rahul" userId="a3e3dcc2-f091-47be-b937-7067e8d8998e" providerId="ADAL" clId="{AC50A7E9-CB84-4BF0-AD9D-B7BA5EC23CA2}" dt="2021-05-22T14:13:14.887" v="1411"/>
          <ac:spMkLst>
            <pc:docMk/>
            <pc:sldMk cId="3588828647" sldId="1050"/>
            <ac:spMk id="50" creationId="{2CC5E7DF-5EA4-4EAA-A1D8-616D6BA2E8BE}"/>
          </ac:spMkLst>
        </pc:spChg>
        <pc:spChg chg="add">
          <ac:chgData name="Khandelwal, Rahul" userId="a3e3dcc2-f091-47be-b937-7067e8d8998e" providerId="ADAL" clId="{AC50A7E9-CB84-4BF0-AD9D-B7BA5EC23CA2}" dt="2021-05-22T14:13:14.887" v="1411"/>
          <ac:spMkLst>
            <pc:docMk/>
            <pc:sldMk cId="3588828647" sldId="1050"/>
            <ac:spMk id="51" creationId="{9A5706C3-2993-438F-BABD-ADAE0A54FFC4}"/>
          </ac:spMkLst>
        </pc:spChg>
        <pc:spChg chg="add">
          <ac:chgData name="Khandelwal, Rahul" userId="a3e3dcc2-f091-47be-b937-7067e8d8998e" providerId="ADAL" clId="{AC50A7E9-CB84-4BF0-AD9D-B7BA5EC23CA2}" dt="2021-05-22T14:13:14.887" v="1411"/>
          <ac:spMkLst>
            <pc:docMk/>
            <pc:sldMk cId="3588828647" sldId="1050"/>
            <ac:spMk id="52" creationId="{9BF5B801-77DB-4B88-AEF7-C3787E25F26F}"/>
          </ac:spMkLst>
        </pc:spChg>
        <pc:spChg chg="add">
          <ac:chgData name="Khandelwal, Rahul" userId="a3e3dcc2-f091-47be-b937-7067e8d8998e" providerId="ADAL" clId="{AC50A7E9-CB84-4BF0-AD9D-B7BA5EC23CA2}" dt="2021-05-22T14:13:14.887" v="1411"/>
          <ac:spMkLst>
            <pc:docMk/>
            <pc:sldMk cId="3588828647" sldId="1050"/>
            <ac:spMk id="53" creationId="{001E19AF-BF81-46BF-97F3-8F1A2BA6F972}"/>
          </ac:spMkLst>
        </pc:spChg>
        <pc:spChg chg="add">
          <ac:chgData name="Khandelwal, Rahul" userId="a3e3dcc2-f091-47be-b937-7067e8d8998e" providerId="ADAL" clId="{AC50A7E9-CB84-4BF0-AD9D-B7BA5EC23CA2}" dt="2021-05-22T14:13:14.887" v="1411"/>
          <ac:spMkLst>
            <pc:docMk/>
            <pc:sldMk cId="3588828647" sldId="1050"/>
            <ac:spMk id="96" creationId="{3B9E6B8F-28A8-4790-8BD1-21BA7D0072E8}"/>
          </ac:spMkLst>
        </pc:spChg>
        <pc:grpChg chg="add">
          <ac:chgData name="Khandelwal, Rahul" userId="a3e3dcc2-f091-47be-b937-7067e8d8998e" providerId="ADAL" clId="{AC50A7E9-CB84-4BF0-AD9D-B7BA5EC23CA2}" dt="2021-05-22T14:13:14.887" v="1411"/>
          <ac:grpSpMkLst>
            <pc:docMk/>
            <pc:sldMk cId="3588828647" sldId="1050"/>
            <ac:grpSpMk id="19" creationId="{20B482E4-D396-483E-BC60-C78849BA84F9}"/>
          </ac:grpSpMkLst>
        </pc:grpChg>
        <pc:grpChg chg="add">
          <ac:chgData name="Khandelwal, Rahul" userId="a3e3dcc2-f091-47be-b937-7067e8d8998e" providerId="ADAL" clId="{AC50A7E9-CB84-4BF0-AD9D-B7BA5EC23CA2}" dt="2021-05-22T14:13:14.887" v="1411"/>
          <ac:grpSpMkLst>
            <pc:docMk/>
            <pc:sldMk cId="3588828647" sldId="1050"/>
            <ac:grpSpMk id="54" creationId="{1FA01D49-E356-45C5-9E28-FFAD65850905}"/>
          </ac:grpSpMkLst>
        </pc:grpChg>
        <pc:picChg chg="add">
          <ac:chgData name="Khandelwal, Rahul" userId="a3e3dcc2-f091-47be-b937-7067e8d8998e" providerId="ADAL" clId="{AC50A7E9-CB84-4BF0-AD9D-B7BA5EC23CA2}" dt="2021-05-22T14:13:14.887" v="1411"/>
          <ac:picMkLst>
            <pc:docMk/>
            <pc:sldMk cId="3588828647" sldId="1050"/>
            <ac:picMk id="8" creationId="{3D840D3B-DC8D-4F9F-AD76-3BC0D01C00CC}"/>
          </ac:picMkLst>
        </pc:picChg>
        <pc:picChg chg="add">
          <ac:chgData name="Khandelwal, Rahul" userId="a3e3dcc2-f091-47be-b937-7067e8d8998e" providerId="ADAL" clId="{AC50A7E9-CB84-4BF0-AD9D-B7BA5EC23CA2}" dt="2021-05-22T14:13:14.887" v="1411"/>
          <ac:picMkLst>
            <pc:docMk/>
            <pc:sldMk cId="3588828647" sldId="1050"/>
            <ac:picMk id="9" creationId="{D71150FC-5F8B-4D70-9050-74AA84059DD3}"/>
          </ac:picMkLst>
        </pc:picChg>
        <pc:picChg chg="add">
          <ac:chgData name="Khandelwal, Rahul" userId="a3e3dcc2-f091-47be-b937-7067e8d8998e" providerId="ADAL" clId="{AC50A7E9-CB84-4BF0-AD9D-B7BA5EC23CA2}" dt="2021-05-22T14:13:14.887" v="1411"/>
          <ac:picMkLst>
            <pc:docMk/>
            <pc:sldMk cId="3588828647" sldId="1050"/>
            <ac:picMk id="10" creationId="{FE9653CE-3897-4E5F-B66E-C9F510690502}"/>
          </ac:picMkLst>
        </pc:picChg>
        <pc:picChg chg="add">
          <ac:chgData name="Khandelwal, Rahul" userId="a3e3dcc2-f091-47be-b937-7067e8d8998e" providerId="ADAL" clId="{AC50A7E9-CB84-4BF0-AD9D-B7BA5EC23CA2}" dt="2021-05-22T14:13:14.887" v="1411"/>
          <ac:picMkLst>
            <pc:docMk/>
            <pc:sldMk cId="3588828647" sldId="1050"/>
            <ac:picMk id="11" creationId="{0AB4816C-3EA6-4E17-8BE5-11B667C7F7BE}"/>
          </ac:picMkLst>
        </pc:picChg>
        <pc:picChg chg="add">
          <ac:chgData name="Khandelwal, Rahul" userId="a3e3dcc2-f091-47be-b937-7067e8d8998e" providerId="ADAL" clId="{AC50A7E9-CB84-4BF0-AD9D-B7BA5EC23CA2}" dt="2021-05-22T14:13:14.887" v="1411"/>
          <ac:picMkLst>
            <pc:docMk/>
            <pc:sldMk cId="3588828647" sldId="1050"/>
            <ac:picMk id="12" creationId="{DA512386-2F2A-4C51-A988-663BCC45FCE7}"/>
          </ac:picMkLst>
        </pc:picChg>
        <pc:picChg chg="add">
          <ac:chgData name="Khandelwal, Rahul" userId="a3e3dcc2-f091-47be-b937-7067e8d8998e" providerId="ADAL" clId="{AC50A7E9-CB84-4BF0-AD9D-B7BA5EC23CA2}" dt="2021-05-22T14:13:14.887" v="1411"/>
          <ac:picMkLst>
            <pc:docMk/>
            <pc:sldMk cId="3588828647" sldId="1050"/>
            <ac:picMk id="13" creationId="{196AD9F3-33C7-4E05-8B37-865D50A03A74}"/>
          </ac:picMkLst>
        </pc:picChg>
        <pc:picChg chg="add">
          <ac:chgData name="Khandelwal, Rahul" userId="a3e3dcc2-f091-47be-b937-7067e8d8998e" providerId="ADAL" clId="{AC50A7E9-CB84-4BF0-AD9D-B7BA5EC23CA2}" dt="2021-05-22T14:13:14.887" v="1411"/>
          <ac:picMkLst>
            <pc:docMk/>
            <pc:sldMk cId="3588828647" sldId="1050"/>
            <ac:picMk id="14" creationId="{6FE9B69B-8135-4A55-BE3D-2F845BFE3786}"/>
          </ac:picMkLst>
        </pc:picChg>
        <pc:picChg chg="add">
          <ac:chgData name="Khandelwal, Rahul" userId="a3e3dcc2-f091-47be-b937-7067e8d8998e" providerId="ADAL" clId="{AC50A7E9-CB84-4BF0-AD9D-B7BA5EC23CA2}" dt="2021-05-22T14:13:14.887" v="1411"/>
          <ac:picMkLst>
            <pc:docMk/>
            <pc:sldMk cId="3588828647" sldId="1050"/>
            <ac:picMk id="15" creationId="{4EDD02B7-C975-4A3E-941F-5B9F55E69826}"/>
          </ac:picMkLst>
        </pc:picChg>
        <pc:picChg chg="add">
          <ac:chgData name="Khandelwal, Rahul" userId="a3e3dcc2-f091-47be-b937-7067e8d8998e" providerId="ADAL" clId="{AC50A7E9-CB84-4BF0-AD9D-B7BA5EC23CA2}" dt="2021-05-22T14:13:14.887" v="1411"/>
          <ac:picMkLst>
            <pc:docMk/>
            <pc:sldMk cId="3588828647" sldId="1050"/>
            <ac:picMk id="16" creationId="{38643399-C0F3-456E-9260-F8E538FB76F7}"/>
          </ac:picMkLst>
        </pc:picChg>
        <pc:picChg chg="add">
          <ac:chgData name="Khandelwal, Rahul" userId="a3e3dcc2-f091-47be-b937-7067e8d8998e" providerId="ADAL" clId="{AC50A7E9-CB84-4BF0-AD9D-B7BA5EC23CA2}" dt="2021-05-22T14:13:14.887" v="1411"/>
          <ac:picMkLst>
            <pc:docMk/>
            <pc:sldMk cId="3588828647" sldId="1050"/>
            <ac:picMk id="17" creationId="{52FDE52B-5F73-4862-8F61-C9F3DD779F21}"/>
          </ac:picMkLst>
        </pc:picChg>
        <pc:picChg chg="add">
          <ac:chgData name="Khandelwal, Rahul" userId="a3e3dcc2-f091-47be-b937-7067e8d8998e" providerId="ADAL" clId="{AC50A7E9-CB84-4BF0-AD9D-B7BA5EC23CA2}" dt="2021-05-22T14:13:14.887" v="1411"/>
          <ac:picMkLst>
            <pc:docMk/>
            <pc:sldMk cId="3588828647" sldId="1050"/>
            <ac:picMk id="18" creationId="{B57207DB-CC1F-4215-A061-5102FBE9FF2E}"/>
          </ac:picMkLst>
        </pc:picChg>
        <pc:picChg chg="add">
          <ac:chgData name="Khandelwal, Rahul" userId="a3e3dcc2-f091-47be-b937-7067e8d8998e" providerId="ADAL" clId="{AC50A7E9-CB84-4BF0-AD9D-B7BA5EC23CA2}" dt="2021-05-22T14:13:14.887" v="1411"/>
          <ac:picMkLst>
            <pc:docMk/>
            <pc:sldMk cId="3588828647" sldId="1050"/>
            <ac:picMk id="34" creationId="{BA734BE0-A62A-4CEF-8D23-2D3E12A50F6A}"/>
          </ac:picMkLst>
        </pc:picChg>
        <pc:picChg chg="add">
          <ac:chgData name="Khandelwal, Rahul" userId="a3e3dcc2-f091-47be-b937-7067e8d8998e" providerId="ADAL" clId="{AC50A7E9-CB84-4BF0-AD9D-B7BA5EC23CA2}" dt="2021-05-22T14:13:14.887" v="1411"/>
          <ac:picMkLst>
            <pc:docMk/>
            <pc:sldMk cId="3588828647" sldId="1050"/>
            <ac:picMk id="35" creationId="{D0B93284-EEA6-474C-B1BF-F8C3CD4AA190}"/>
          </ac:picMkLst>
        </pc:picChg>
        <pc:picChg chg="add">
          <ac:chgData name="Khandelwal, Rahul" userId="a3e3dcc2-f091-47be-b937-7067e8d8998e" providerId="ADAL" clId="{AC50A7E9-CB84-4BF0-AD9D-B7BA5EC23CA2}" dt="2021-05-22T14:13:14.887" v="1411"/>
          <ac:picMkLst>
            <pc:docMk/>
            <pc:sldMk cId="3588828647" sldId="1050"/>
            <ac:picMk id="37" creationId="{206EC66A-5403-4917-B961-FE5458F97398}"/>
          </ac:picMkLst>
        </pc:picChg>
        <pc:picChg chg="add">
          <ac:chgData name="Khandelwal, Rahul" userId="a3e3dcc2-f091-47be-b937-7067e8d8998e" providerId="ADAL" clId="{AC50A7E9-CB84-4BF0-AD9D-B7BA5EC23CA2}" dt="2021-05-22T14:13:14.887" v="1411"/>
          <ac:picMkLst>
            <pc:docMk/>
            <pc:sldMk cId="3588828647" sldId="1050"/>
            <ac:picMk id="38" creationId="{827E5100-D542-4BA0-8CD2-11389AF46AEF}"/>
          </ac:picMkLst>
        </pc:picChg>
        <pc:picChg chg="add">
          <ac:chgData name="Khandelwal, Rahul" userId="a3e3dcc2-f091-47be-b937-7067e8d8998e" providerId="ADAL" clId="{AC50A7E9-CB84-4BF0-AD9D-B7BA5EC23CA2}" dt="2021-05-22T14:13:14.887" v="1411"/>
          <ac:picMkLst>
            <pc:docMk/>
            <pc:sldMk cId="3588828647" sldId="1050"/>
            <ac:picMk id="39" creationId="{B42DE0AA-5D81-437D-8CE3-BA87194F9A55}"/>
          </ac:picMkLst>
        </pc:picChg>
        <pc:picChg chg="add">
          <ac:chgData name="Khandelwal, Rahul" userId="a3e3dcc2-f091-47be-b937-7067e8d8998e" providerId="ADAL" clId="{AC50A7E9-CB84-4BF0-AD9D-B7BA5EC23CA2}" dt="2021-05-22T14:13:14.887" v="1411"/>
          <ac:picMkLst>
            <pc:docMk/>
            <pc:sldMk cId="3588828647" sldId="1050"/>
            <ac:picMk id="40" creationId="{781398DA-0ADF-4BA6-91A2-D04EB8E115A1}"/>
          </ac:picMkLst>
        </pc:picChg>
        <pc:picChg chg="add">
          <ac:chgData name="Khandelwal, Rahul" userId="a3e3dcc2-f091-47be-b937-7067e8d8998e" providerId="ADAL" clId="{AC50A7E9-CB84-4BF0-AD9D-B7BA5EC23CA2}" dt="2021-05-22T14:13:14.887" v="1411"/>
          <ac:picMkLst>
            <pc:docMk/>
            <pc:sldMk cId="3588828647" sldId="1050"/>
            <ac:picMk id="41" creationId="{C43C9AB9-FC56-4C21-AD3C-05B30C3B2EAF}"/>
          </ac:picMkLst>
        </pc:picChg>
        <pc:picChg chg="add">
          <ac:chgData name="Khandelwal, Rahul" userId="a3e3dcc2-f091-47be-b937-7067e8d8998e" providerId="ADAL" clId="{AC50A7E9-CB84-4BF0-AD9D-B7BA5EC23CA2}" dt="2021-05-22T14:13:14.887" v="1411"/>
          <ac:picMkLst>
            <pc:docMk/>
            <pc:sldMk cId="3588828647" sldId="1050"/>
            <ac:picMk id="42" creationId="{A6097E71-D3E3-4912-A503-CCA2609D6D30}"/>
          </ac:picMkLst>
        </pc:picChg>
        <pc:picChg chg="add">
          <ac:chgData name="Khandelwal, Rahul" userId="a3e3dcc2-f091-47be-b937-7067e8d8998e" providerId="ADAL" clId="{AC50A7E9-CB84-4BF0-AD9D-B7BA5EC23CA2}" dt="2021-05-22T14:13:14.887" v="1411"/>
          <ac:picMkLst>
            <pc:docMk/>
            <pc:sldMk cId="3588828647" sldId="1050"/>
            <ac:picMk id="43" creationId="{98F9913D-B5E8-4087-BBB4-6FECB5D137BD}"/>
          </ac:picMkLst>
        </pc:picChg>
        <pc:picChg chg="add">
          <ac:chgData name="Khandelwal, Rahul" userId="a3e3dcc2-f091-47be-b937-7067e8d8998e" providerId="ADAL" clId="{AC50A7E9-CB84-4BF0-AD9D-B7BA5EC23CA2}" dt="2021-05-22T14:13:14.887" v="1411"/>
          <ac:picMkLst>
            <pc:docMk/>
            <pc:sldMk cId="3588828647" sldId="1050"/>
            <ac:picMk id="44" creationId="{3FFD8A1F-7AF3-4F89-ABF9-25181A0CA52C}"/>
          </ac:picMkLst>
        </pc:picChg>
        <pc:picChg chg="add">
          <ac:chgData name="Khandelwal, Rahul" userId="a3e3dcc2-f091-47be-b937-7067e8d8998e" providerId="ADAL" clId="{AC50A7E9-CB84-4BF0-AD9D-B7BA5EC23CA2}" dt="2021-05-22T14:13:14.887" v="1411"/>
          <ac:picMkLst>
            <pc:docMk/>
            <pc:sldMk cId="3588828647" sldId="1050"/>
            <ac:picMk id="104" creationId="{27DA10E9-15F8-4627-A2D9-B3CE73106C19}"/>
          </ac:picMkLst>
        </pc:picChg>
        <pc:cxnChg chg="add">
          <ac:chgData name="Khandelwal, Rahul" userId="a3e3dcc2-f091-47be-b937-7067e8d8998e" providerId="ADAL" clId="{AC50A7E9-CB84-4BF0-AD9D-B7BA5EC23CA2}" dt="2021-05-22T14:13:14.887" v="1411"/>
          <ac:cxnSpMkLst>
            <pc:docMk/>
            <pc:sldMk cId="3588828647" sldId="1050"/>
            <ac:cxnSpMk id="97" creationId="{B6655A2E-B46E-47A0-8CA7-9544B324E08C}"/>
          </ac:cxnSpMkLst>
        </pc:cxnChg>
        <pc:cxnChg chg="add">
          <ac:chgData name="Khandelwal, Rahul" userId="a3e3dcc2-f091-47be-b937-7067e8d8998e" providerId="ADAL" clId="{AC50A7E9-CB84-4BF0-AD9D-B7BA5EC23CA2}" dt="2021-05-22T14:13:14.887" v="1411"/>
          <ac:cxnSpMkLst>
            <pc:docMk/>
            <pc:sldMk cId="3588828647" sldId="1050"/>
            <ac:cxnSpMk id="98" creationId="{53C46A72-A85F-4396-921F-696207280BA8}"/>
          </ac:cxnSpMkLst>
        </pc:cxnChg>
        <pc:cxnChg chg="add">
          <ac:chgData name="Khandelwal, Rahul" userId="a3e3dcc2-f091-47be-b937-7067e8d8998e" providerId="ADAL" clId="{AC50A7E9-CB84-4BF0-AD9D-B7BA5EC23CA2}" dt="2021-05-22T14:13:14.887" v="1411"/>
          <ac:cxnSpMkLst>
            <pc:docMk/>
            <pc:sldMk cId="3588828647" sldId="1050"/>
            <ac:cxnSpMk id="99" creationId="{E1C0C3ED-DECB-4B33-81DA-372E3C8D29A3}"/>
          </ac:cxnSpMkLst>
        </pc:cxnChg>
        <pc:cxnChg chg="add">
          <ac:chgData name="Khandelwal, Rahul" userId="a3e3dcc2-f091-47be-b937-7067e8d8998e" providerId="ADAL" clId="{AC50A7E9-CB84-4BF0-AD9D-B7BA5EC23CA2}" dt="2021-05-22T14:13:14.887" v="1411"/>
          <ac:cxnSpMkLst>
            <pc:docMk/>
            <pc:sldMk cId="3588828647" sldId="1050"/>
            <ac:cxnSpMk id="100" creationId="{8B7A53C0-5CC0-41F3-A37D-F6728287428A}"/>
          </ac:cxnSpMkLst>
        </pc:cxnChg>
        <pc:cxnChg chg="add mod">
          <ac:chgData name="Khandelwal, Rahul" userId="a3e3dcc2-f091-47be-b937-7067e8d8998e" providerId="ADAL" clId="{AC50A7E9-CB84-4BF0-AD9D-B7BA5EC23CA2}" dt="2021-05-22T14:13:33.345" v="1414" actId="1076"/>
          <ac:cxnSpMkLst>
            <pc:docMk/>
            <pc:sldMk cId="3588828647" sldId="1050"/>
            <ac:cxnSpMk id="101" creationId="{79987415-E4AB-452D-ABA9-8EF5F664F23E}"/>
          </ac:cxnSpMkLst>
        </pc:cxnChg>
        <pc:cxnChg chg="add">
          <ac:chgData name="Khandelwal, Rahul" userId="a3e3dcc2-f091-47be-b937-7067e8d8998e" providerId="ADAL" clId="{AC50A7E9-CB84-4BF0-AD9D-B7BA5EC23CA2}" dt="2021-05-22T14:13:14.887" v="1411"/>
          <ac:cxnSpMkLst>
            <pc:docMk/>
            <pc:sldMk cId="3588828647" sldId="1050"/>
            <ac:cxnSpMk id="102" creationId="{5FAB1DD0-E9A6-473A-9155-7010435A243F}"/>
          </ac:cxnSpMkLst>
        </pc:cxnChg>
        <pc:cxnChg chg="add">
          <ac:chgData name="Khandelwal, Rahul" userId="a3e3dcc2-f091-47be-b937-7067e8d8998e" providerId="ADAL" clId="{AC50A7E9-CB84-4BF0-AD9D-B7BA5EC23CA2}" dt="2021-05-22T14:13:14.887" v="1411"/>
          <ac:cxnSpMkLst>
            <pc:docMk/>
            <pc:sldMk cId="3588828647" sldId="1050"/>
            <ac:cxnSpMk id="103" creationId="{2F67E631-ED22-4610-AC51-65F1B3C628B2}"/>
          </ac:cxnSpMkLst>
        </pc:cxnChg>
      </pc:sldChg>
      <pc:sldChg chg="addSp delSp modSp add">
        <pc:chgData name="Khandelwal, Rahul" userId="a3e3dcc2-f091-47be-b937-7067e8d8998e" providerId="ADAL" clId="{AC50A7E9-CB84-4BF0-AD9D-B7BA5EC23CA2}" dt="2021-05-22T14:16:20.913" v="1513" actId="478"/>
        <pc:sldMkLst>
          <pc:docMk/>
          <pc:sldMk cId="3113555520" sldId="1051"/>
        </pc:sldMkLst>
        <pc:spChg chg="del">
          <ac:chgData name="Khandelwal, Rahul" userId="a3e3dcc2-f091-47be-b937-7067e8d8998e" providerId="ADAL" clId="{AC50A7E9-CB84-4BF0-AD9D-B7BA5EC23CA2}" dt="2021-05-22T14:15:48.365" v="1479"/>
          <ac:spMkLst>
            <pc:docMk/>
            <pc:sldMk cId="3113555520" sldId="1051"/>
            <ac:spMk id="2" creationId="{A35967B0-BBD0-4819-B771-F99B4A21FDE1}"/>
          </ac:spMkLst>
        </pc:spChg>
        <pc:spChg chg="del">
          <ac:chgData name="Khandelwal, Rahul" userId="a3e3dcc2-f091-47be-b937-7067e8d8998e" providerId="ADAL" clId="{AC50A7E9-CB84-4BF0-AD9D-B7BA5EC23CA2}" dt="2021-05-22T14:15:48.365" v="1479"/>
          <ac:spMkLst>
            <pc:docMk/>
            <pc:sldMk cId="3113555520" sldId="1051"/>
            <ac:spMk id="3" creationId="{82DB3B0E-CCF5-4DD5-A788-6A2F1E800E60}"/>
          </ac:spMkLst>
        </pc:spChg>
        <pc:spChg chg="del">
          <ac:chgData name="Khandelwal, Rahul" userId="a3e3dcc2-f091-47be-b937-7067e8d8998e" providerId="ADAL" clId="{AC50A7E9-CB84-4BF0-AD9D-B7BA5EC23CA2}" dt="2021-05-22T14:15:48.365" v="1479"/>
          <ac:spMkLst>
            <pc:docMk/>
            <pc:sldMk cId="3113555520" sldId="1051"/>
            <ac:spMk id="4" creationId="{5965B912-4140-44FC-B061-D3784CFF317D}"/>
          </ac:spMkLst>
        </pc:spChg>
        <pc:spChg chg="del">
          <ac:chgData name="Khandelwal, Rahul" userId="a3e3dcc2-f091-47be-b937-7067e8d8998e" providerId="ADAL" clId="{AC50A7E9-CB84-4BF0-AD9D-B7BA5EC23CA2}" dt="2021-05-22T14:15:48.365" v="1479"/>
          <ac:spMkLst>
            <pc:docMk/>
            <pc:sldMk cId="3113555520" sldId="1051"/>
            <ac:spMk id="5" creationId="{0AF8056C-169A-49F2-BE03-EBFF25629BCC}"/>
          </ac:spMkLst>
        </pc:spChg>
        <pc:spChg chg="del">
          <ac:chgData name="Khandelwal, Rahul" userId="a3e3dcc2-f091-47be-b937-7067e8d8998e" providerId="ADAL" clId="{AC50A7E9-CB84-4BF0-AD9D-B7BA5EC23CA2}" dt="2021-05-22T14:15:48.365" v="1479"/>
          <ac:spMkLst>
            <pc:docMk/>
            <pc:sldMk cId="3113555520" sldId="1051"/>
            <ac:spMk id="6" creationId="{62BCA2D4-8046-4E5E-AD16-EBFFB1E6492E}"/>
          </ac:spMkLst>
        </pc:spChg>
        <pc:spChg chg="del">
          <ac:chgData name="Khandelwal, Rahul" userId="a3e3dcc2-f091-47be-b937-7067e8d8998e" providerId="ADAL" clId="{AC50A7E9-CB84-4BF0-AD9D-B7BA5EC23CA2}" dt="2021-05-22T14:15:48.365" v="1479"/>
          <ac:spMkLst>
            <pc:docMk/>
            <pc:sldMk cId="3113555520" sldId="1051"/>
            <ac:spMk id="7" creationId="{316F5FA0-0247-428F-AE44-10FB1891D22D}"/>
          </ac:spMkLst>
        </pc:spChg>
        <pc:spChg chg="del">
          <ac:chgData name="Khandelwal, Rahul" userId="a3e3dcc2-f091-47be-b937-7067e8d8998e" providerId="ADAL" clId="{AC50A7E9-CB84-4BF0-AD9D-B7BA5EC23CA2}" dt="2021-05-22T14:15:48.365" v="1479"/>
          <ac:spMkLst>
            <pc:docMk/>
            <pc:sldMk cId="3113555520" sldId="1051"/>
            <ac:spMk id="8" creationId="{D9FF6DAA-9DFA-4524-A563-697DF375DAF3}"/>
          </ac:spMkLst>
        </pc:spChg>
        <pc:spChg chg="del">
          <ac:chgData name="Khandelwal, Rahul" userId="a3e3dcc2-f091-47be-b937-7067e8d8998e" providerId="ADAL" clId="{AC50A7E9-CB84-4BF0-AD9D-B7BA5EC23CA2}" dt="2021-05-22T14:15:48.365" v="1479"/>
          <ac:spMkLst>
            <pc:docMk/>
            <pc:sldMk cId="3113555520" sldId="1051"/>
            <ac:spMk id="9" creationId="{18FA07C6-357D-4DC6-AE0F-5D16FFB1A001}"/>
          </ac:spMkLst>
        </pc:spChg>
        <pc:spChg chg="del">
          <ac:chgData name="Khandelwal, Rahul" userId="a3e3dcc2-f091-47be-b937-7067e8d8998e" providerId="ADAL" clId="{AC50A7E9-CB84-4BF0-AD9D-B7BA5EC23CA2}" dt="2021-05-22T14:15:48.365" v="1479"/>
          <ac:spMkLst>
            <pc:docMk/>
            <pc:sldMk cId="3113555520" sldId="1051"/>
            <ac:spMk id="10" creationId="{E32CBA80-FB6F-4272-A4F3-6600FC699191}"/>
          </ac:spMkLst>
        </pc:spChg>
        <pc:spChg chg="add del mod">
          <ac:chgData name="Khandelwal, Rahul" userId="a3e3dcc2-f091-47be-b937-7067e8d8998e" providerId="ADAL" clId="{AC50A7E9-CB84-4BF0-AD9D-B7BA5EC23CA2}" dt="2021-05-22T14:15:55.140" v="1480"/>
          <ac:spMkLst>
            <pc:docMk/>
            <pc:sldMk cId="3113555520" sldId="1051"/>
            <ac:spMk id="11" creationId="{C8FA744E-761C-42F3-89DF-6293E42EBA8E}"/>
          </ac:spMkLst>
        </pc:spChg>
        <pc:spChg chg="add del mod">
          <ac:chgData name="Khandelwal, Rahul" userId="a3e3dcc2-f091-47be-b937-7067e8d8998e" providerId="ADAL" clId="{AC50A7E9-CB84-4BF0-AD9D-B7BA5EC23CA2}" dt="2021-05-22T14:15:55.140" v="1480"/>
          <ac:spMkLst>
            <pc:docMk/>
            <pc:sldMk cId="3113555520" sldId="1051"/>
            <ac:spMk id="12" creationId="{B6922B9C-B3F7-4C35-B239-0B9981B09AE5}"/>
          </ac:spMkLst>
        </pc:spChg>
        <pc:spChg chg="add mod">
          <ac:chgData name="Khandelwal, Rahul" userId="a3e3dcc2-f091-47be-b937-7067e8d8998e" providerId="ADAL" clId="{AC50A7E9-CB84-4BF0-AD9D-B7BA5EC23CA2}" dt="2021-05-22T14:15:55.140" v="1480"/>
          <ac:spMkLst>
            <pc:docMk/>
            <pc:sldMk cId="3113555520" sldId="1051"/>
            <ac:spMk id="13" creationId="{80A9A069-2BA1-4E53-9B49-A04D67FA0C3F}"/>
          </ac:spMkLst>
        </pc:spChg>
        <pc:spChg chg="add mod">
          <ac:chgData name="Khandelwal, Rahul" userId="a3e3dcc2-f091-47be-b937-7067e8d8998e" providerId="ADAL" clId="{AC50A7E9-CB84-4BF0-AD9D-B7BA5EC23CA2}" dt="2021-05-22T14:16:08.740" v="1497" actId="20577"/>
          <ac:spMkLst>
            <pc:docMk/>
            <pc:sldMk cId="3113555520" sldId="1051"/>
            <ac:spMk id="14" creationId="{64755E8B-422D-42D1-A8B0-34337F04E437}"/>
          </ac:spMkLst>
        </pc:spChg>
        <pc:spChg chg="add del mod">
          <ac:chgData name="Khandelwal, Rahul" userId="a3e3dcc2-f091-47be-b937-7067e8d8998e" providerId="ADAL" clId="{AC50A7E9-CB84-4BF0-AD9D-B7BA5EC23CA2}" dt="2021-05-22T14:16:20.913" v="1513" actId="478"/>
          <ac:spMkLst>
            <pc:docMk/>
            <pc:sldMk cId="3113555520" sldId="1051"/>
            <ac:spMk id="15" creationId="{912694D8-6E15-4B3C-BBB9-8850CFD5CD41}"/>
          </ac:spMkLst>
        </pc:spChg>
        <pc:spChg chg="add del mod">
          <ac:chgData name="Khandelwal, Rahul" userId="a3e3dcc2-f091-47be-b937-7067e8d8998e" providerId="ADAL" clId="{AC50A7E9-CB84-4BF0-AD9D-B7BA5EC23CA2}" dt="2021-05-22T14:16:20.913" v="1513" actId="478"/>
          <ac:spMkLst>
            <pc:docMk/>
            <pc:sldMk cId="3113555520" sldId="1051"/>
            <ac:spMk id="16" creationId="{87BA6EBE-AF25-4B28-A50F-8A7B1C34D428}"/>
          </ac:spMkLst>
        </pc:spChg>
        <pc:spChg chg="add mod">
          <ac:chgData name="Khandelwal, Rahul" userId="a3e3dcc2-f091-47be-b937-7067e8d8998e" providerId="ADAL" clId="{AC50A7E9-CB84-4BF0-AD9D-B7BA5EC23CA2}" dt="2021-05-22T14:16:20.913" v="1513" actId="478"/>
          <ac:spMkLst>
            <pc:docMk/>
            <pc:sldMk cId="3113555520" sldId="1051"/>
            <ac:spMk id="18" creationId="{2B5FA8C1-3420-4A51-A322-D09D92E329DC}"/>
          </ac:spMkLst>
        </pc:spChg>
      </pc:sldChg>
      <pc:sldChg chg="addSp delSp modSp add">
        <pc:chgData name="Khandelwal, Rahul" userId="a3e3dcc2-f091-47be-b937-7067e8d8998e" providerId="ADAL" clId="{AC50A7E9-CB84-4BF0-AD9D-B7BA5EC23CA2}" dt="2021-05-24T06:33:29.262" v="2314" actId="20577"/>
        <pc:sldMkLst>
          <pc:docMk/>
          <pc:sldMk cId="1937246165" sldId="1052"/>
        </pc:sldMkLst>
        <pc:graphicFrameChg chg="add mod modGraphic">
          <ac:chgData name="Khandelwal, Rahul" userId="a3e3dcc2-f091-47be-b937-7067e8d8998e" providerId="ADAL" clId="{AC50A7E9-CB84-4BF0-AD9D-B7BA5EC23CA2}" dt="2021-05-22T14:24:02.090" v="1766" actId="1076"/>
          <ac:graphicFrameMkLst>
            <pc:docMk/>
            <pc:sldMk cId="1937246165" sldId="1052"/>
            <ac:graphicFrameMk id="5" creationId="{6AC9B97D-2224-44C0-8872-353C14F05D1C}"/>
          </ac:graphicFrameMkLst>
        </pc:graphicFrameChg>
        <pc:graphicFrameChg chg="modGraphic">
          <ac:chgData name="Khandelwal, Rahul" userId="a3e3dcc2-f091-47be-b937-7067e8d8998e" providerId="ADAL" clId="{AC50A7E9-CB84-4BF0-AD9D-B7BA5EC23CA2}" dt="2021-05-24T06:33:29.262" v="2314" actId="20577"/>
          <ac:graphicFrameMkLst>
            <pc:docMk/>
            <pc:sldMk cId="1937246165" sldId="1052"/>
            <ac:graphicFrameMk id="7" creationId="{F101AABD-79F0-4BD8-8F99-5941D501EEEE}"/>
          </ac:graphicFrameMkLst>
        </pc:graphicFrameChg>
        <pc:graphicFrameChg chg="del mod">
          <ac:chgData name="Khandelwal, Rahul" userId="a3e3dcc2-f091-47be-b937-7067e8d8998e" providerId="ADAL" clId="{AC50A7E9-CB84-4BF0-AD9D-B7BA5EC23CA2}" dt="2021-05-22T14:20:18.766" v="1517" actId="478"/>
          <ac:graphicFrameMkLst>
            <pc:docMk/>
            <pc:sldMk cId="1937246165" sldId="1052"/>
            <ac:graphicFrameMk id="9" creationId="{BCEE4EDF-47E0-4948-A5C6-AA56E2739804}"/>
          </ac:graphicFrameMkLst>
        </pc:graphicFrameChg>
      </pc:sldChg>
      <pc:sldChg chg="modSp">
        <pc:chgData name="Khandelwal, Rahul" userId="a3e3dcc2-f091-47be-b937-7067e8d8998e" providerId="ADAL" clId="{AC50A7E9-CB84-4BF0-AD9D-B7BA5EC23CA2}" dt="2021-05-24T05:22:31.418" v="2156" actId="113"/>
        <pc:sldMkLst>
          <pc:docMk/>
          <pc:sldMk cId="3622275861" sldId="1989"/>
        </pc:sldMkLst>
        <pc:spChg chg="mod">
          <ac:chgData name="Khandelwal, Rahul" userId="a3e3dcc2-f091-47be-b937-7067e8d8998e" providerId="ADAL" clId="{AC50A7E9-CB84-4BF0-AD9D-B7BA5EC23CA2}" dt="2021-05-24T05:19:58.365" v="2085" actId="113"/>
          <ac:spMkLst>
            <pc:docMk/>
            <pc:sldMk cId="3622275861" sldId="1989"/>
            <ac:spMk id="7170" creationId="{4EF0A5D5-CB77-4BCF-86BB-EC8AFA4AA0E3}"/>
          </ac:spMkLst>
        </pc:spChg>
        <pc:spChg chg="mod">
          <ac:chgData name="Khandelwal, Rahul" userId="a3e3dcc2-f091-47be-b937-7067e8d8998e" providerId="ADAL" clId="{AC50A7E9-CB84-4BF0-AD9D-B7BA5EC23CA2}" dt="2021-05-24T05:22:31.418" v="2156" actId="113"/>
          <ac:spMkLst>
            <pc:docMk/>
            <pc:sldMk cId="3622275861" sldId="1989"/>
            <ac:spMk id="7175" creationId="{BADEA8C0-D1A3-4608-9E63-683339DCC944}"/>
          </ac:spMkLst>
        </pc:spChg>
        <pc:spChg chg="mod">
          <ac:chgData name="Khandelwal, Rahul" userId="a3e3dcc2-f091-47be-b937-7067e8d8998e" providerId="ADAL" clId="{AC50A7E9-CB84-4BF0-AD9D-B7BA5EC23CA2}" dt="2021-05-24T05:22:16.115" v="2154" actId="1076"/>
          <ac:spMkLst>
            <pc:docMk/>
            <pc:sldMk cId="3622275861" sldId="1989"/>
            <ac:spMk id="7180" creationId="{273FF0AF-5E94-435C-8A2A-7A7CA0FE36A6}"/>
          </ac:spMkLst>
        </pc:spChg>
        <pc:picChg chg="mod">
          <ac:chgData name="Khandelwal, Rahul" userId="a3e3dcc2-f091-47be-b937-7067e8d8998e" providerId="ADAL" clId="{AC50A7E9-CB84-4BF0-AD9D-B7BA5EC23CA2}" dt="2021-05-24T05:22:16.115" v="2154" actId="1076"/>
          <ac:picMkLst>
            <pc:docMk/>
            <pc:sldMk cId="3622275861" sldId="1989"/>
            <ac:picMk id="7179" creationId="{12618B16-99B6-4F89-A145-C5939A93831F}"/>
          </ac:picMkLst>
        </pc:picChg>
        <pc:picChg chg="mod">
          <ac:chgData name="Khandelwal, Rahul" userId="a3e3dcc2-f091-47be-b937-7067e8d8998e" providerId="ADAL" clId="{AC50A7E9-CB84-4BF0-AD9D-B7BA5EC23CA2}" dt="2021-05-24T05:22:16.115" v="2154" actId="1076"/>
          <ac:picMkLst>
            <pc:docMk/>
            <pc:sldMk cId="3622275861" sldId="1989"/>
            <ac:picMk id="7181" creationId="{568E79A1-196A-4599-9F1F-AD39B99F1222}"/>
          </ac:picMkLst>
        </pc:picChg>
      </pc:sldChg>
    </pc:docChg>
  </pc:docChgLst>
  <pc:docChgLst>
    <pc:chgData name="Deshpande, Onkar" userId="2b8835b5-0145-42fe-9c31-9a7f19b342c0" providerId="ADAL" clId="{2673C553-2D46-4EDC-82F0-D48C3B05572A}"/>
    <pc:docChg chg="modSld">
      <pc:chgData name="Deshpande, Onkar" userId="2b8835b5-0145-42fe-9c31-9a7f19b342c0" providerId="ADAL" clId="{2673C553-2D46-4EDC-82F0-D48C3B05572A}" dt="2021-06-23T05:55:56.117" v="1" actId="1076"/>
      <pc:docMkLst>
        <pc:docMk/>
      </pc:docMkLst>
      <pc:sldChg chg="modSp">
        <pc:chgData name="Deshpande, Onkar" userId="2b8835b5-0145-42fe-9c31-9a7f19b342c0" providerId="ADAL" clId="{2673C553-2D46-4EDC-82F0-D48C3B05572A}" dt="2021-06-23T05:55:56.117" v="1" actId="1076"/>
        <pc:sldMkLst>
          <pc:docMk/>
          <pc:sldMk cId="3622275861" sldId="1989"/>
        </pc:sldMkLst>
        <pc:spChg chg="mod">
          <ac:chgData name="Deshpande, Onkar" userId="2b8835b5-0145-42fe-9c31-9a7f19b342c0" providerId="ADAL" clId="{2673C553-2D46-4EDC-82F0-D48C3B05572A}" dt="2021-06-23T05:52:49.095" v="0" actId="14100"/>
          <ac:spMkLst>
            <pc:docMk/>
            <pc:sldMk cId="3622275861" sldId="1989"/>
            <ac:spMk id="7175" creationId="{BADEA8C0-D1A3-4608-9E63-683339DCC944}"/>
          </ac:spMkLst>
        </pc:spChg>
        <pc:picChg chg="mod">
          <ac:chgData name="Deshpande, Onkar" userId="2b8835b5-0145-42fe-9c31-9a7f19b342c0" providerId="ADAL" clId="{2673C553-2D46-4EDC-82F0-D48C3B05572A}" dt="2021-06-23T05:55:56.117" v="1" actId="1076"/>
          <ac:picMkLst>
            <pc:docMk/>
            <pc:sldMk cId="3622275861" sldId="1989"/>
            <ac:picMk id="7182" creationId="{89622B52-B834-40D0-9BA5-24EF14F2A61E}"/>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Harsh.chaudhary@capgemini.com" TargetMode="External"/><Relationship Id="rId7" Type="http://schemas.openxmlformats.org/officeDocument/2006/relationships/hyperlink" Target="https://drive.google.com/drive/folders/1YAnBzS5mBdvQyrLS7O7YiSQ2Ed99tgel?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harsh-ch1/OnlineHotelManagement-HarshChaudhary/tree/FFBackend" TargetMode="External"/><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hyperlink" Target="https://www.linkedin.com/in/harsh-chaudhary-05538819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85235"/>
            <a:ext cx="4008437" cy="3490118"/>
          </a:xfrm>
        </p:spPr>
        <p:txBody>
          <a:bodyPr/>
          <a:lstStyle/>
          <a:p>
            <a:pPr algn="just"/>
            <a:r>
              <a:rPr lang="en-IN" altLang="en-US" sz="1100" b="1" dirty="0">
                <a:solidFill>
                  <a:srgbClr val="0070AD"/>
                </a:solidFill>
              </a:rPr>
              <a:t>Certification :</a:t>
            </a:r>
          </a:p>
          <a:p>
            <a:pPr algn="just">
              <a:lnSpc>
                <a:spcPct val="100000"/>
              </a:lnSpc>
              <a:spcBef>
                <a:spcPts val="400"/>
              </a:spcBef>
            </a:pPr>
            <a:r>
              <a:rPr lang="en-US" altLang="en-US" sz="1100" b="1" dirty="0"/>
              <a:t>● AWS Certified cloud practitioner</a:t>
            </a:r>
          </a:p>
          <a:p>
            <a:pPr algn="just">
              <a:lnSpc>
                <a:spcPct val="100000"/>
              </a:lnSpc>
              <a:spcBef>
                <a:spcPts val="500"/>
              </a:spcBef>
            </a:pPr>
            <a:r>
              <a:rPr lang="en-IN" altLang="en-US" sz="1100" b="1" dirty="0">
                <a:solidFill>
                  <a:srgbClr val="0070AD"/>
                </a:solidFill>
              </a:rPr>
              <a:t>Projects :</a:t>
            </a:r>
            <a:endParaRPr lang="en-US" altLang="en-US" sz="1100" b="1" dirty="0"/>
          </a:p>
          <a:p>
            <a:pPr algn="just" eaLnBrk="1" hangingPunct="1">
              <a:lnSpc>
                <a:spcPct val="100000"/>
              </a:lnSpc>
              <a:spcBef>
                <a:spcPts val="400"/>
              </a:spcBef>
            </a:pPr>
            <a:r>
              <a:rPr lang="en-US" altLang="en-US" sz="1000" b="1" dirty="0"/>
              <a:t>● </a:t>
            </a:r>
            <a:r>
              <a:rPr lang="en-US" altLang="en-US" b="1" dirty="0"/>
              <a:t>ONLINE HOTEL MANAGEMENT SYSTEM </a:t>
            </a:r>
          </a:p>
          <a:p>
            <a:pPr algn="just" eaLnBrk="1" hangingPunct="1">
              <a:lnSpc>
                <a:spcPct val="114000"/>
              </a:lnSpc>
            </a:pPr>
            <a:r>
              <a:rPr lang="en-IN" altLang="en-US" dirty="0"/>
              <a:t>Completed end to end case study of Hotel Management System along with JWT authentication, Swagger and payment gateway using Paytm, RabbitMQ, SMTP, Logger, responsive UI with bootstrap CSS and React used for frontend</a:t>
            </a:r>
            <a:r>
              <a:rPr lang="en-US" altLang="en-US" dirty="0"/>
              <a:t>.</a:t>
            </a:r>
            <a:endParaRPr lang="en-US" altLang="nl-NL" b="1" dirty="0"/>
          </a:p>
          <a:p>
            <a:pPr algn="just" eaLnBrk="1" hangingPunct="1">
              <a:lnSpc>
                <a:spcPct val="100000"/>
              </a:lnSpc>
            </a:pPr>
            <a:r>
              <a:rPr lang="en-US" altLang="en-US" sz="1000" b="1" dirty="0"/>
              <a:t>● </a:t>
            </a:r>
            <a:r>
              <a:rPr lang="en-IN" altLang="nl-NL" b="1" dirty="0"/>
              <a:t>Criminal Face Identification System</a:t>
            </a:r>
            <a:endParaRPr lang="en-US" altLang="nl-NL" b="1" dirty="0"/>
          </a:p>
          <a:p>
            <a:pPr algn="just">
              <a:lnSpc>
                <a:spcPct val="100000"/>
              </a:lnSpc>
              <a:spcBef>
                <a:spcPts val="200"/>
              </a:spcBef>
            </a:pPr>
            <a:r>
              <a:rPr lang="en-US" dirty="0"/>
              <a:t>A</a:t>
            </a:r>
            <a:r>
              <a:rPr lang="en-US" b="0" i="0" u="none" strike="noStrike" baseline="0" dirty="0"/>
              <a:t>n application created using face recognition and Machine</a:t>
            </a:r>
          </a:p>
          <a:p>
            <a:pPr algn="just">
              <a:lnSpc>
                <a:spcPct val="100000"/>
              </a:lnSpc>
              <a:spcBef>
                <a:spcPts val="200"/>
              </a:spcBef>
            </a:pPr>
            <a:r>
              <a:rPr lang="en-US" b="0" i="0" u="none" strike="noStrike" baseline="0" dirty="0"/>
              <a:t>learning and it is used to identify a criminal just by looking</a:t>
            </a:r>
          </a:p>
          <a:p>
            <a:pPr algn="just">
              <a:lnSpc>
                <a:spcPct val="100000"/>
              </a:lnSpc>
              <a:spcBef>
                <a:spcPts val="200"/>
              </a:spcBef>
            </a:pPr>
            <a:r>
              <a:rPr lang="en-US" b="0" i="0" u="none" strike="noStrike" baseline="0" dirty="0"/>
              <a:t> and its face and shows all the details related to that criminal.</a:t>
            </a:r>
          </a:p>
          <a:p>
            <a:pPr algn="just">
              <a:lnSpc>
                <a:spcPct val="100000"/>
              </a:lnSpc>
            </a:pPr>
            <a:r>
              <a:rPr lang="en-US" altLang="en-US" sz="1000" b="1" dirty="0"/>
              <a:t>● </a:t>
            </a:r>
            <a:r>
              <a:rPr lang="en-IN" altLang="nl-NL" b="1" dirty="0"/>
              <a:t>HTML &amp; CSS course from </a:t>
            </a:r>
            <a:r>
              <a:rPr lang="en-IN" altLang="nl-NL" b="1" dirty="0" err="1"/>
              <a:t>BoltIot</a:t>
            </a:r>
            <a:endParaRPr lang="en-IN" altLang="nl-NL" b="1" dirty="0"/>
          </a:p>
          <a:p>
            <a:pPr algn="just" eaLnBrk="1" hangingPunct="1">
              <a:lnSpc>
                <a:spcPct val="114000"/>
              </a:lnSpc>
            </a:pPr>
            <a:r>
              <a:rPr lang="en-IN" altLang="en-US" dirty="0"/>
              <a:t>Completed this course and Designed responsive website using HTML5 CSS3 .</a:t>
            </a:r>
          </a:p>
          <a:p>
            <a:pPr algn="just" eaLnBrk="1" hangingPunct="1">
              <a:lnSpc>
                <a:spcPct val="100000"/>
              </a:lnSpc>
            </a:pPr>
            <a:r>
              <a:rPr lang="en-US" altLang="en-US" sz="1000" b="1" dirty="0"/>
              <a:t>● </a:t>
            </a:r>
            <a:r>
              <a:rPr lang="en-IN" altLang="en-US" b="1" dirty="0"/>
              <a:t>CAMP Training In Capgemini on JEE with </a:t>
            </a:r>
            <a:r>
              <a:rPr lang="en-IN" altLang="en-US" b="1" dirty="0" err="1"/>
              <a:t>Devops</a:t>
            </a:r>
            <a:r>
              <a:rPr lang="en-IN" altLang="en-US" b="1" dirty="0"/>
              <a:t> and AWS</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0108"/>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34348" y="1585059"/>
            <a:ext cx="2517775" cy="325438"/>
          </a:xfrm>
        </p:spPr>
        <p:txBody>
          <a:bodyPr/>
          <a:lstStyle/>
          <a:p>
            <a:pPr eaLnBrk="1" hangingPunct="1"/>
            <a:r>
              <a:rPr lang="nl-NL" altLang="nl-NL" dirty="0">
                <a:hlinkClick r:id="rId3"/>
              </a:rPr>
              <a:t>harsh.chaudhary@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0893" y="1826419"/>
            <a:ext cx="2382837" cy="330200"/>
          </a:xfrm>
        </p:spPr>
        <p:txBody>
          <a:bodyPr/>
          <a:lstStyle/>
          <a:p>
            <a:pPr eaLnBrk="1" hangingPunct="1"/>
            <a:r>
              <a:rPr lang="nl-NL" altLang="nl-NL" dirty="0"/>
              <a:t>+91 999076603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7623" y="2978150"/>
            <a:ext cx="4265612" cy="3621087"/>
          </a:xfrm>
        </p:spPr>
        <p:txBody>
          <a:bodyPr/>
          <a:lstStyle/>
          <a:p>
            <a:pPr algn="just"/>
            <a:r>
              <a:rPr lang="en-US" altLang="en-US" sz="1050" b="1" dirty="0"/>
              <a:t>Full Stack Developer</a:t>
            </a:r>
          </a:p>
          <a:p>
            <a:pPr marL="171450" indent="-171450" algn="just">
              <a:buFont typeface="Arial" panose="020B0604020202020204" pitchFamily="34" charset="0"/>
              <a:buChar char="•"/>
            </a:pPr>
            <a:r>
              <a:rPr lang="en-US" sz="900" dirty="0"/>
              <a:t>Hands on experience in creating </a:t>
            </a:r>
            <a:r>
              <a:rPr lang="en-US" sz="900" b="1" dirty="0"/>
              <a:t>microservices</a:t>
            </a:r>
            <a:r>
              <a:rPr lang="en-US" sz="900" dirty="0"/>
              <a:t> with </a:t>
            </a:r>
            <a:r>
              <a:rPr lang="en-US" sz="900" b="1" dirty="0" err="1"/>
              <a:t>Springboot</a:t>
            </a:r>
            <a:r>
              <a:rPr lang="en-US" sz="900" b="1" dirty="0"/>
              <a:t>, Spring Security, Spring Cloud API Gateway,</a:t>
            </a:r>
            <a:r>
              <a:rPr lang="en-US" sz="900" dirty="0"/>
              <a:t> Eureka server, load balancing and logger.</a:t>
            </a:r>
          </a:p>
          <a:p>
            <a:pPr marL="171450" indent="-171450" algn="just">
              <a:buFont typeface="Arial" panose="020B0604020202020204" pitchFamily="34" charset="0"/>
              <a:buChar char="•"/>
            </a:pPr>
            <a:r>
              <a:rPr lang="en-US" sz="900" dirty="0"/>
              <a:t>Proficient in creating </a:t>
            </a:r>
            <a:r>
              <a:rPr lang="en-US" sz="900" b="1" dirty="0"/>
              <a:t>Single page Web</a:t>
            </a:r>
            <a:r>
              <a:rPr lang="en-US" sz="900" dirty="0"/>
              <a:t> Application in </a:t>
            </a:r>
            <a:r>
              <a:rPr lang="en-US" sz="900" b="1" dirty="0" err="1"/>
              <a:t>ReactJs</a:t>
            </a:r>
            <a:r>
              <a:rPr lang="en-US" sz="900" dirty="0"/>
              <a:t> with </a:t>
            </a:r>
            <a:r>
              <a:rPr lang="en-US" sz="900" b="1" dirty="0"/>
              <a:t>Components, Routing, </a:t>
            </a:r>
            <a:r>
              <a:rPr lang="en-US" sz="900" b="1" dirty="0" err="1"/>
              <a:t>Axios</a:t>
            </a:r>
            <a:r>
              <a:rPr lang="en-US" sz="900" b="1" dirty="0"/>
              <a:t>, Bootstrap CSS</a:t>
            </a:r>
            <a:r>
              <a:rPr lang="en-US" sz="900" dirty="0"/>
              <a:t>, Authentication and Event Handling.</a:t>
            </a:r>
          </a:p>
          <a:p>
            <a:pPr marL="171450" indent="-171450" algn="just">
              <a:buFont typeface="Arial" panose="020B0604020202020204" pitchFamily="34" charset="0"/>
              <a:buChar char="•"/>
            </a:pPr>
            <a:r>
              <a:rPr lang="en-US" sz="900" dirty="0"/>
              <a:t>Hands on experience in implementing </a:t>
            </a:r>
            <a:r>
              <a:rPr lang="en-US" sz="900" b="1" dirty="0"/>
              <a:t>polyglot architecture </a:t>
            </a:r>
            <a:r>
              <a:rPr lang="en-US" sz="900" dirty="0"/>
              <a:t>with </a:t>
            </a:r>
            <a:r>
              <a:rPr lang="en-US" sz="900" b="1" dirty="0" err="1"/>
              <a:t>ReactJs</a:t>
            </a:r>
            <a:r>
              <a:rPr lang="en-US" sz="900" dirty="0"/>
              <a:t> &amp; </a:t>
            </a:r>
            <a:r>
              <a:rPr lang="en-US" sz="900" b="1" dirty="0"/>
              <a:t>spring boot</a:t>
            </a:r>
            <a:r>
              <a:rPr lang="en-US" sz="900" dirty="0"/>
              <a:t> </a:t>
            </a:r>
          </a:p>
          <a:p>
            <a:pPr marL="171450" indent="-171450" algn="just">
              <a:buFont typeface="Arial" panose="020B0604020202020204" pitchFamily="34" charset="0"/>
              <a:buChar char="•"/>
            </a:pPr>
            <a:r>
              <a:rPr lang="en-US" sz="900" dirty="0"/>
              <a:t>Experience in creating documentation with swagger and </a:t>
            </a:r>
            <a:r>
              <a:rPr lang="en-US" sz="900" b="1" dirty="0"/>
              <a:t>unit testing using Junit, RabbitMQ </a:t>
            </a:r>
            <a:r>
              <a:rPr lang="en-US" sz="900" dirty="0"/>
              <a:t>for internal messaging(Notifications), SMTP for Email Service.</a:t>
            </a:r>
          </a:p>
          <a:p>
            <a:pPr marL="171450" indent="-171450" algn="just">
              <a:buFont typeface="Arial" panose="020B0604020202020204" pitchFamily="34" charset="0"/>
              <a:buChar char="•"/>
            </a:pPr>
            <a:r>
              <a:rPr lang="en-US" sz="900" dirty="0"/>
              <a:t>Development experience in creating docker compose files, docker images and pushing to </a:t>
            </a:r>
            <a:r>
              <a:rPr lang="en-US" sz="900" b="1" dirty="0"/>
              <a:t>Docker Hub.</a:t>
            </a:r>
          </a:p>
          <a:p>
            <a:pPr marL="171450" indent="-171450" algn="just">
              <a:buFont typeface="Arial" panose="020B0604020202020204" pitchFamily="34" charset="0"/>
              <a:buChar char="•"/>
            </a:pPr>
            <a:r>
              <a:rPr lang="en-US" sz="900" dirty="0"/>
              <a:t>Understanding of </a:t>
            </a:r>
            <a:r>
              <a:rPr lang="en-US" sz="900" b="1" dirty="0"/>
              <a:t>AWS Cloud</a:t>
            </a:r>
            <a:r>
              <a:rPr lang="en-US" sz="900" dirty="0"/>
              <a:t> environment</a:t>
            </a:r>
          </a:p>
          <a:p>
            <a:pPr algn="just"/>
            <a:br>
              <a:rPr lang="en-US" altLang="nl-NL" sz="900" dirty="0"/>
            </a:br>
            <a:endParaRPr lang="en-US" altLang="nl-NL" sz="900" dirty="0"/>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a:stretch/>
        </p:blipFill>
        <p:spPr>
          <a:xfrm>
            <a:off x="387390" y="253645"/>
            <a:ext cx="1604832" cy="1735494"/>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Harsh Chaudhary</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151646" y="62761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85033" y="638095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03886" y="6242048"/>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9"/>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9931" y="1970481"/>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04466907"/>
              </p:ext>
            </p:extLst>
          </p:nvPr>
        </p:nvGraphicFramePr>
        <p:xfrm>
          <a:off x="9206318" y="1168110"/>
          <a:ext cx="2985682" cy="4872750"/>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406219">
                  <a:extLst>
                    <a:ext uri="{9D8B030D-6E8A-4147-A177-3AD203B41FA5}">
                      <a16:colId xmlns:a16="http://schemas.microsoft.com/office/drawing/2014/main" val="879084521"/>
                    </a:ext>
                  </a:extLst>
                </a:gridCol>
              </a:tblGrid>
              <a:tr h="0">
                <a:tc>
                  <a:txBody>
                    <a:bodyPr/>
                    <a:lstStyle/>
                    <a:p>
                      <a:pPr algn="just"/>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pPr algn="just"/>
                      <a:r>
                        <a:rPr kumimoji="0" lang="en-US" sz="800" b="0" u="none" strike="noStrike" kern="1200" cap="none" spc="0" normalizeH="0" baseline="0" dirty="0">
                          <a:ln>
                            <a:noFill/>
                          </a:ln>
                          <a:effectLst/>
                          <a:uLnTx/>
                          <a:uFillTx/>
                        </a:rPr>
                        <a:t>Junit, Servlets </a:t>
                      </a:r>
                      <a:r>
                        <a:rPr lang="en-US" sz="800" b="0" dirty="0"/>
                        <a:t>&amp; Exception Handling</a:t>
                      </a:r>
                      <a:r>
                        <a:rPr lang="en-US" sz="800" dirty="0"/>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800" u="none" strike="noStrike" kern="1200" cap="none" spc="0" normalizeH="0" baseline="0" dirty="0">
                          <a:ln>
                            <a:noFill/>
                          </a:ln>
                          <a:effectLst/>
                          <a:uLnTx/>
                          <a:uFillTx/>
                        </a:rPr>
                        <a:t>IOC &amp; Dependency Injection, </a:t>
                      </a:r>
                      <a:r>
                        <a:rPr kumimoji="0" lang="en-US" sz="800" u="none" strike="noStrike" kern="1200" cap="none" spc="0" normalizeH="0" baseline="0" dirty="0" err="1">
                          <a:ln>
                            <a:noFill/>
                          </a:ln>
                          <a:effectLst/>
                          <a:uLnTx/>
                          <a:uFillTx/>
                        </a:rPr>
                        <a:t>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pPr algn="just"/>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pPr algn="just"/>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95155">
                <a:tc>
                  <a:txBody>
                    <a:bodyPr/>
                    <a:lstStyle/>
                    <a:p>
                      <a:pPr algn="just"/>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800" u="none" strike="noStrike" kern="1200" cap="none" spc="0" normalizeH="0" baseline="0" dirty="0">
                          <a:ln>
                            <a:noFill/>
                          </a:ln>
                          <a:effectLst/>
                          <a:uLnTx/>
                          <a:uFillTx/>
                        </a:rPr>
                        <a:t>Microservices Architecture, Spring Boot Starters, annotations, Messaging Service, Swagger API document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just"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Server &amp; API Cloud Gateway</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1355">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just"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Routing, Event handling, </a:t>
                      </a:r>
                      <a:r>
                        <a:rPr kumimoji="0" lang="en-US" sz="800" u="none" strike="noStrike" kern="1200" cap="none" spc="0" normalizeH="0" baseline="0" dirty="0" err="1">
                          <a:ln>
                            <a:noFill/>
                          </a:ln>
                          <a:solidFill>
                            <a:schemeClr val="tx1"/>
                          </a:solidFill>
                          <a:effectLst/>
                          <a:uLnTx/>
                          <a:uFillTx/>
                          <a:latin typeface="+mn-lt"/>
                          <a:ea typeface="+mn-ea"/>
                          <a:cs typeface="+mn-cs"/>
                        </a:rPr>
                        <a:t>Axios</a:t>
                      </a:r>
                      <a:r>
                        <a:rPr kumimoji="0" lang="en-US" sz="800" u="none" strike="noStrike" kern="1200" cap="none" spc="0" normalizeH="0" baseline="0" dirty="0">
                          <a:ln>
                            <a:noFill/>
                          </a:ln>
                          <a:solidFill>
                            <a:schemeClr val="tx1"/>
                          </a:solidFill>
                          <a:effectLst/>
                          <a:uLnTx/>
                          <a:uFillTx/>
                          <a:latin typeface="+mn-lt"/>
                          <a:ea typeface="+mn-ea"/>
                          <a:cs typeface="+mn-cs"/>
                        </a:rPr>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295155">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295155">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just"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just"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5155">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Docker</a:t>
                      </a:r>
                    </a:p>
                  </a:txBody>
                  <a:tcPr/>
                </a:tc>
                <a:extLst>
                  <a:ext uri="{0D108BD9-81ED-4DB2-BD59-A6C34878D82A}">
                    <a16:rowId xmlns:a16="http://schemas.microsoft.com/office/drawing/2014/main" val="3653916308"/>
                  </a:ext>
                </a:extLst>
              </a:tr>
              <a:tr h="295155">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Effective Communications, Fast Learner, Team Management &amp; Punctual.</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05474" y="527013"/>
            <a:ext cx="2681500"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in Technology </a:t>
            </a:r>
          </a:p>
          <a:p>
            <a:pPr lvl="0">
              <a:lnSpc>
                <a:spcPct val="114000"/>
              </a:lnSpc>
              <a:defRPr/>
            </a:pPr>
            <a:r>
              <a:rPr lang="en-US" altLang="nl-NL" sz="1000" dirty="0">
                <a:solidFill>
                  <a:prstClr val="black"/>
                </a:solidFill>
                <a:latin typeface="Verdana" panose="020B0604030504040204" pitchFamily="34" charset="0"/>
              </a:rPr>
              <a:t>Information Technology :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06318" y="937426"/>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BE0E0C-620A-4984-A7C0-E81EEECF47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45</TotalTime>
  <Words>439</Words>
  <Application>Microsoft Office PowerPoint</Application>
  <PresentationFormat>Widescreen</PresentationFormat>
  <Paragraphs>7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udhary, Harsh</cp:lastModifiedBy>
  <cp:revision>120</cp:revision>
  <dcterms:created xsi:type="dcterms:W3CDTF">2020-09-22T06:24:34Z</dcterms:created>
  <dcterms:modified xsi:type="dcterms:W3CDTF">2022-10-25T05:5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